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2" r:id="rId5"/>
    <p:sldMasterId id="2147483676" r:id="rId6"/>
    <p:sldMasterId id="2147483690" r:id="rId7"/>
  </p:sldMasterIdLst>
  <p:notesMasterIdLst>
    <p:notesMasterId r:id="rId21"/>
  </p:notesMasterIdLst>
  <p:sldIdLst>
    <p:sldId id="2278" r:id="rId8"/>
    <p:sldId id="2219" r:id="rId9"/>
    <p:sldId id="2280" r:id="rId10"/>
    <p:sldId id="2223" r:id="rId11"/>
    <p:sldId id="2277" r:id="rId12"/>
    <p:sldId id="2272" r:id="rId13"/>
    <p:sldId id="2262" r:id="rId14"/>
    <p:sldId id="2184" r:id="rId15"/>
    <p:sldId id="2212" r:id="rId16"/>
    <p:sldId id="2187" r:id="rId17"/>
    <p:sldId id="2186" r:id="rId18"/>
    <p:sldId id="2263" r:id="rId19"/>
    <p:sldId id="226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870F13-324E-E3B6-6CC8-CFB6EB935E21}" name="Altair Bekturov" initials="AB" userId="S::A.Bekturov@aifc.kz::f1c9077e-fbd1-4d3f-8125-f3628bf5133d" providerId="AD"/>
  <p188:author id="{38B60C66-117D-BD88-3FBF-8491B3187910}" name="Bakhtiyar Abilkassym" initials="BA" userId="S::b.abilkassym@aix.kz::43df8c1d-47d3-4d47-a62d-adb007cbde6e" providerId="AD"/>
  <p188:author id="{18D3AE70-8509-4E93-CCE0-3AE0D236D35D}" name="Timur Karimsakov" initials="TK" userId="S::t.karimsakov@aifc.kz::ea04722c-9be7-49ff-9a17-c5a9c646d8a7" providerId="AD"/>
  <p188:author id="{92100DC4-3FC5-543D-FA5D-D0543943D074}" name="Aruzhan Bakhazatkhanova" initials="AB" userId="S::a.bakhazatkhanova@aifc.kz::c778e498-cb36-475a-b96c-6ba69ac00b7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C7E7"/>
    <a:srgbClr val="008EAA"/>
    <a:srgbClr val="4BB5C8"/>
    <a:srgbClr val="404040"/>
    <a:srgbClr val="002554"/>
    <a:srgbClr val="82C6D8"/>
    <a:srgbClr val="26A6BD"/>
    <a:srgbClr val="BFE1EB"/>
    <a:srgbClr val="00434C"/>
    <a:srgbClr val="008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C5C427-1B88-4538-A901-99895D89CC7C}" v="412" dt="2025-10-24T10:17:34.0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dibek Sarsen" userId="45dd48cd-369f-40d9-b087-57d6f6db707a" providerId="ADAL" clId="{14D8942D-9FDB-4A17-ADD4-F0671120DCAF}"/>
    <pc:docChg chg="custSel addSld modSld">
      <pc:chgData name="Berdibek Sarsen" userId="45dd48cd-369f-40d9-b087-57d6f6db707a" providerId="ADAL" clId="{14D8942D-9FDB-4A17-ADD4-F0671120DCAF}" dt="2025-10-17T10:56:31.311" v="1025" actId="2711"/>
      <pc:docMkLst>
        <pc:docMk/>
      </pc:docMkLst>
      <pc:sldChg chg="modSp mod">
        <pc:chgData name="Berdibek Sarsen" userId="45dd48cd-369f-40d9-b087-57d6f6db707a" providerId="ADAL" clId="{14D8942D-9FDB-4A17-ADD4-F0671120DCAF}" dt="2025-10-17T06:40:10.340" v="157" actId="20577"/>
        <pc:sldMkLst>
          <pc:docMk/>
          <pc:sldMk cId="4078718328" sldId="2184"/>
        </pc:sldMkLst>
        <pc:spChg chg="mod">
          <ac:chgData name="Berdibek Sarsen" userId="45dd48cd-369f-40d9-b087-57d6f6db707a" providerId="ADAL" clId="{14D8942D-9FDB-4A17-ADD4-F0671120DCAF}" dt="2025-10-17T06:37:32.343" v="133" actId="20577"/>
          <ac:spMkLst>
            <pc:docMk/>
            <pc:sldMk cId="4078718328" sldId="2184"/>
            <ac:spMk id="2" creationId="{52071995-C509-6EAE-D695-281DA0FCCD68}"/>
          </ac:spMkLst>
        </pc:spChg>
        <pc:spChg chg="mod">
          <ac:chgData name="Berdibek Sarsen" userId="45dd48cd-369f-40d9-b087-57d6f6db707a" providerId="ADAL" clId="{14D8942D-9FDB-4A17-ADD4-F0671120DCAF}" dt="2025-10-17T06:37:02.947" v="125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Berdibek Sarsen" userId="45dd48cd-369f-40d9-b087-57d6f6db707a" providerId="ADAL" clId="{14D8942D-9FDB-4A17-ADD4-F0671120DCAF}" dt="2025-10-17T06:40:10.340" v="157" actId="20577"/>
          <ac:spMkLst>
            <pc:docMk/>
            <pc:sldMk cId="4078718328" sldId="2184"/>
            <ac:spMk id="14" creationId="{BD5CC2B5-7AC2-AC81-7D04-76E8DBC10147}"/>
          </ac:spMkLst>
        </pc:spChg>
        <pc:spChg chg="mod">
          <ac:chgData name="Berdibek Sarsen" userId="45dd48cd-369f-40d9-b087-57d6f6db707a" providerId="ADAL" clId="{14D8942D-9FDB-4A17-ADD4-F0671120DCAF}" dt="2025-10-17T06:38:17.806" v="143" actId="20577"/>
          <ac:spMkLst>
            <pc:docMk/>
            <pc:sldMk cId="4078718328" sldId="2184"/>
            <ac:spMk id="39" creationId="{7F1210A2-DF0A-EE3C-D16C-FBEDF102F0DA}"/>
          </ac:spMkLst>
        </pc:spChg>
        <pc:graphicFrameChg chg="mod">
          <ac:chgData name="Berdibek Sarsen" userId="45dd48cd-369f-40d9-b087-57d6f6db707a" providerId="ADAL" clId="{14D8942D-9FDB-4A17-ADD4-F0671120DCAF}" dt="2025-10-17T06:39:44.942" v="155" actId="20577"/>
          <ac:graphicFrameMkLst>
            <pc:docMk/>
            <pc:sldMk cId="4078718328" sldId="2184"/>
            <ac:graphicFrameMk id="42" creationId="{80BBF4C8-60AA-4BC8-5F0A-465832365B97}"/>
          </ac:graphicFrameMkLst>
        </pc:graphicFrameChg>
      </pc:sldChg>
      <pc:sldChg chg="modSp mod">
        <pc:chgData name="Berdibek Sarsen" userId="45dd48cd-369f-40d9-b087-57d6f6db707a" providerId="ADAL" clId="{14D8942D-9FDB-4A17-ADD4-F0671120DCAF}" dt="2025-10-17T10:53:26.112" v="1019" actId="20577"/>
        <pc:sldMkLst>
          <pc:docMk/>
          <pc:sldMk cId="2298565077" sldId="2186"/>
        </pc:sldMkLst>
        <pc:spChg chg="mod">
          <ac:chgData name="Berdibek Sarsen" userId="45dd48cd-369f-40d9-b087-57d6f6db707a" providerId="ADAL" clId="{14D8942D-9FDB-4A17-ADD4-F0671120DCAF}" dt="2025-10-17T09:50:49.112" v="483" actId="20577"/>
          <ac:spMkLst>
            <pc:docMk/>
            <pc:sldMk cId="2298565077" sldId="2186"/>
            <ac:spMk id="44" creationId="{90BE8CD8-94C1-7202-0DBE-3853E3A66AD5}"/>
          </ac:spMkLst>
        </pc:spChg>
        <pc:spChg chg="mod">
          <ac:chgData name="Berdibek Sarsen" userId="45dd48cd-369f-40d9-b087-57d6f6db707a" providerId="ADAL" clId="{14D8942D-9FDB-4A17-ADD4-F0671120DCAF}" dt="2025-10-17T10:53:26.112" v="1019" actId="20577"/>
          <ac:spMkLst>
            <pc:docMk/>
            <pc:sldMk cId="2298565077" sldId="2186"/>
            <ac:spMk id="45" creationId="{FB0CAE96-5F9C-ACCC-9EFD-BFC6551FC96D}"/>
          </ac:spMkLst>
        </pc:spChg>
        <pc:spChg chg="mod">
          <ac:chgData name="Berdibek Sarsen" userId="45dd48cd-369f-40d9-b087-57d6f6db707a" providerId="ADAL" clId="{14D8942D-9FDB-4A17-ADD4-F0671120DCAF}" dt="2025-10-17T09:53:04.758" v="509" actId="1076"/>
          <ac:spMkLst>
            <pc:docMk/>
            <pc:sldMk cId="2298565077" sldId="2186"/>
            <ac:spMk id="49" creationId="{1B196EA7-439E-0271-9871-8455A5EEC67A}"/>
          </ac:spMkLst>
        </pc:spChg>
        <pc:spChg chg="mod">
          <ac:chgData name="Berdibek Sarsen" userId="45dd48cd-369f-40d9-b087-57d6f6db707a" providerId="ADAL" clId="{14D8942D-9FDB-4A17-ADD4-F0671120DCAF}" dt="2025-10-17T09:53:10.551" v="510" actId="1076"/>
          <ac:spMkLst>
            <pc:docMk/>
            <pc:sldMk cId="2298565077" sldId="2186"/>
            <ac:spMk id="50" creationId="{6A9A99B5-2D07-5E57-5D08-7AE2404145B6}"/>
          </ac:spMkLst>
        </pc:spChg>
        <pc:spChg chg="mod">
          <ac:chgData name="Berdibek Sarsen" userId="45dd48cd-369f-40d9-b087-57d6f6db707a" providerId="ADAL" clId="{14D8942D-9FDB-4A17-ADD4-F0671120DCAF}" dt="2025-10-17T09:53:14.690" v="511" actId="1076"/>
          <ac:spMkLst>
            <pc:docMk/>
            <pc:sldMk cId="2298565077" sldId="2186"/>
            <ac:spMk id="51" creationId="{C6D80B88-1D1A-5302-B59F-5F0F6C30A810}"/>
          </ac:spMkLst>
        </pc:spChg>
        <pc:spChg chg="mod">
          <ac:chgData name="Berdibek Sarsen" userId="45dd48cd-369f-40d9-b087-57d6f6db707a" providerId="ADAL" clId="{14D8942D-9FDB-4A17-ADD4-F0671120DCAF}" dt="2025-10-17T09:53:17.458" v="512" actId="1076"/>
          <ac:spMkLst>
            <pc:docMk/>
            <pc:sldMk cId="2298565077" sldId="2186"/>
            <ac:spMk id="52" creationId="{2E58206E-6AF1-9A7B-B393-446E8D73898B}"/>
          </ac:spMkLst>
        </pc:spChg>
        <pc:spChg chg="mod">
          <ac:chgData name="Berdibek Sarsen" userId="45dd48cd-369f-40d9-b087-57d6f6db707a" providerId="ADAL" clId="{14D8942D-9FDB-4A17-ADD4-F0671120DCAF}" dt="2025-10-17T09:53:37.415" v="514" actId="1076"/>
          <ac:spMkLst>
            <pc:docMk/>
            <pc:sldMk cId="2298565077" sldId="2186"/>
            <ac:spMk id="53" creationId="{57D98D88-CFF5-0777-DAC4-4007F9EA6891}"/>
          </ac:spMkLst>
        </pc:spChg>
        <pc:spChg chg="mod">
          <ac:chgData name="Berdibek Sarsen" userId="45dd48cd-369f-40d9-b087-57d6f6db707a" providerId="ADAL" clId="{14D8942D-9FDB-4A17-ADD4-F0671120DCAF}" dt="2025-10-17T09:52:38.306" v="505" actId="20577"/>
          <ac:spMkLst>
            <pc:docMk/>
            <pc:sldMk cId="2298565077" sldId="2186"/>
            <ac:spMk id="54" creationId="{8C3A6160-9C69-6208-E6C0-CB81E01F8512}"/>
          </ac:spMkLst>
        </pc:spChg>
        <pc:spChg chg="mod">
          <ac:chgData name="Berdibek Sarsen" userId="45dd48cd-369f-40d9-b087-57d6f6db707a" providerId="ADAL" clId="{14D8942D-9FDB-4A17-ADD4-F0671120DCAF}" dt="2025-10-17T09:53:28.512" v="513" actId="1076"/>
          <ac:spMkLst>
            <pc:docMk/>
            <pc:sldMk cId="2298565077" sldId="2186"/>
            <ac:spMk id="55" creationId="{4B457C6C-18E1-5178-D68C-C3FDB9D77B88}"/>
          </ac:spMkLst>
        </pc:spChg>
      </pc:sldChg>
      <pc:sldChg chg="modSp mod">
        <pc:chgData name="Berdibek Sarsen" userId="45dd48cd-369f-40d9-b087-57d6f6db707a" providerId="ADAL" clId="{14D8942D-9FDB-4A17-ADD4-F0671120DCAF}" dt="2025-10-17T07:28:34.457" v="479" actId="20577"/>
        <pc:sldMkLst>
          <pc:docMk/>
          <pc:sldMk cId="1727869833" sldId="2187"/>
        </pc:sldMkLst>
        <pc:spChg chg="mod">
          <ac:chgData name="Berdibek Sarsen" userId="45dd48cd-369f-40d9-b087-57d6f6db707a" providerId="ADAL" clId="{14D8942D-9FDB-4A17-ADD4-F0671120DCAF}" dt="2025-10-17T07:12:51.938" v="347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Berdibek Sarsen" userId="45dd48cd-369f-40d9-b087-57d6f6db707a" providerId="ADAL" clId="{14D8942D-9FDB-4A17-ADD4-F0671120DCAF}" dt="2025-10-17T07:13:05.326" v="353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Berdibek Sarsen" userId="45dd48cd-369f-40d9-b087-57d6f6db707a" providerId="ADAL" clId="{14D8942D-9FDB-4A17-ADD4-F0671120DCAF}" dt="2025-10-17T07:28:34.457" v="479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Berdibek Sarsen" userId="45dd48cd-369f-40d9-b087-57d6f6db707a" providerId="ADAL" clId="{14D8942D-9FDB-4A17-ADD4-F0671120DCAF}" dt="2025-10-17T07:22:49.263" v="394" actId="1076"/>
          <ac:spMkLst>
            <pc:docMk/>
            <pc:sldMk cId="1727869833" sldId="2187"/>
            <ac:spMk id="19" creationId="{EC9345E5-2339-88F3-8807-302CF9F3C618}"/>
          </ac:spMkLst>
        </pc:spChg>
        <pc:spChg chg="mod">
          <ac:chgData name="Berdibek Sarsen" userId="45dd48cd-369f-40d9-b087-57d6f6db707a" providerId="ADAL" clId="{14D8942D-9FDB-4A17-ADD4-F0671120DCAF}" dt="2025-10-17T07:22:42.953" v="393" actId="1076"/>
          <ac:spMkLst>
            <pc:docMk/>
            <pc:sldMk cId="1727869833" sldId="2187"/>
            <ac:spMk id="22" creationId="{170BBD13-3D6B-352A-2AFC-35E7151C325D}"/>
          </ac:spMkLst>
        </pc:spChg>
        <pc:spChg chg="mod">
          <ac:chgData name="Berdibek Sarsen" userId="45dd48cd-369f-40d9-b087-57d6f6db707a" providerId="ADAL" clId="{14D8942D-9FDB-4A17-ADD4-F0671120DCAF}" dt="2025-10-17T07:22:40.323" v="392" actId="1076"/>
          <ac:spMkLst>
            <pc:docMk/>
            <pc:sldMk cId="1727869833" sldId="2187"/>
            <ac:spMk id="27" creationId="{10547048-E2B7-0D69-380E-4BD90B8B7AD1}"/>
          </ac:spMkLst>
        </pc:spChg>
        <pc:spChg chg="mod">
          <ac:chgData name="Berdibek Sarsen" userId="45dd48cd-369f-40d9-b087-57d6f6db707a" providerId="ADAL" clId="{14D8942D-9FDB-4A17-ADD4-F0671120DCAF}" dt="2025-10-17T07:22:35.983" v="391" actId="1076"/>
          <ac:spMkLst>
            <pc:docMk/>
            <pc:sldMk cId="1727869833" sldId="2187"/>
            <ac:spMk id="29" creationId="{5D004C76-0DB5-D2E1-FFDC-194D8B3691E3}"/>
          </ac:spMkLst>
        </pc:spChg>
        <pc:spChg chg="mod">
          <ac:chgData name="Berdibek Sarsen" userId="45dd48cd-369f-40d9-b087-57d6f6db707a" providerId="ADAL" clId="{14D8942D-9FDB-4A17-ADD4-F0671120DCAF}" dt="2025-10-17T07:21:34.904" v="383" actId="20577"/>
          <ac:spMkLst>
            <pc:docMk/>
            <pc:sldMk cId="1727869833" sldId="2187"/>
            <ac:spMk id="30" creationId="{1EF8A265-7911-B274-2E61-42A4C8C332CC}"/>
          </ac:spMkLst>
        </pc:spChg>
        <pc:spChg chg="mod">
          <ac:chgData name="Berdibek Sarsen" userId="45dd48cd-369f-40d9-b087-57d6f6db707a" providerId="ADAL" clId="{14D8942D-9FDB-4A17-ADD4-F0671120DCAF}" dt="2025-10-17T07:22:29.220" v="390" actId="1076"/>
          <ac:spMkLst>
            <pc:docMk/>
            <pc:sldMk cId="1727869833" sldId="2187"/>
            <ac:spMk id="31" creationId="{6EE0D5E7-49F2-4519-190F-E309235578C7}"/>
          </ac:spMkLst>
        </pc:spChg>
        <pc:spChg chg="mod">
          <ac:chgData name="Berdibek Sarsen" userId="45dd48cd-369f-40d9-b087-57d6f6db707a" providerId="ADAL" clId="{14D8942D-9FDB-4A17-ADD4-F0671120DCAF}" dt="2025-10-17T07:23:07.214" v="405" actId="14100"/>
          <ac:spMkLst>
            <pc:docMk/>
            <pc:sldMk cId="1727869833" sldId="2187"/>
            <ac:spMk id="42" creationId="{A79DC61F-730C-7930-2BCC-F467DB4FBAA1}"/>
          </ac:spMkLst>
        </pc:spChg>
        <pc:spChg chg="mod">
          <ac:chgData name="Berdibek Sarsen" userId="45dd48cd-369f-40d9-b087-57d6f6db707a" providerId="ADAL" clId="{14D8942D-9FDB-4A17-ADD4-F0671120DCAF}" dt="2025-10-17T07:22:21.082" v="389" actId="1076"/>
          <ac:spMkLst>
            <pc:docMk/>
            <pc:sldMk cId="1727869833" sldId="2187"/>
            <ac:spMk id="43" creationId="{B432C63F-3255-3044-953D-1C8A4FFA930C}"/>
          </ac:spMkLst>
        </pc:spChg>
        <pc:graphicFrameChg chg="mod">
          <ac:chgData name="Berdibek Sarsen" userId="45dd48cd-369f-40d9-b087-57d6f6db707a" providerId="ADAL" clId="{14D8942D-9FDB-4A17-ADD4-F0671120DCAF}" dt="2025-10-17T07:14:37.414" v="368" actId="20577"/>
          <ac:graphicFrameMkLst>
            <pc:docMk/>
            <pc:sldMk cId="1727869833" sldId="2187"/>
            <ac:graphicFrameMk id="5" creationId="{383A9DA2-329F-2063-D839-F9D13F184199}"/>
          </ac:graphicFrameMkLst>
        </pc:graphicFrameChg>
        <pc:graphicFrameChg chg="mod">
          <ac:chgData name="Berdibek Sarsen" userId="45dd48cd-369f-40d9-b087-57d6f6db707a" providerId="ADAL" clId="{14D8942D-9FDB-4A17-ADD4-F0671120DCAF}" dt="2025-10-17T07:14:03.314" v="361" actId="20577"/>
          <ac:graphicFrameMkLst>
            <pc:docMk/>
            <pc:sldMk cId="1727869833" sldId="2187"/>
            <ac:graphicFrameMk id="10" creationId="{D9BBE670-3254-E54E-BA91-C0E513E73E15}"/>
          </ac:graphicFrameMkLst>
        </pc:graphicFrameChg>
      </pc:sldChg>
      <pc:sldChg chg="addSp delSp modSp add mod">
        <pc:chgData name="Berdibek Sarsen" userId="45dd48cd-369f-40d9-b087-57d6f6db707a" providerId="ADAL" clId="{14D8942D-9FDB-4A17-ADD4-F0671120DCAF}" dt="2025-10-17T10:56:31.311" v="1025" actId="2711"/>
        <pc:sldMkLst>
          <pc:docMk/>
          <pc:sldMk cId="2877417444" sldId="2192"/>
        </pc:sldMkLst>
      </pc:sldChg>
      <pc:sldChg chg="modSp mod">
        <pc:chgData name="Berdibek Sarsen" userId="45dd48cd-369f-40d9-b087-57d6f6db707a" providerId="ADAL" clId="{14D8942D-9FDB-4A17-ADD4-F0671120DCAF}" dt="2025-10-17T06:52:18.754" v="345" actId="20577"/>
        <pc:sldMkLst>
          <pc:docMk/>
          <pc:sldMk cId="3240899165" sldId="2212"/>
        </pc:sldMkLst>
        <pc:spChg chg="mod">
          <ac:chgData name="Berdibek Sarsen" userId="45dd48cd-369f-40d9-b087-57d6f6db707a" providerId="ADAL" clId="{14D8942D-9FDB-4A17-ADD4-F0671120DCAF}" dt="2025-10-17T06:49:44.954" v="252" actId="20577"/>
          <ac:spMkLst>
            <pc:docMk/>
            <pc:sldMk cId="3240899165" sldId="2212"/>
            <ac:spMk id="33" creationId="{3F88818C-680E-6FEF-C7D6-B591A99E4D6C}"/>
          </ac:spMkLst>
        </pc:spChg>
        <pc:spChg chg="mod">
          <ac:chgData name="Berdibek Sarsen" userId="45dd48cd-369f-40d9-b087-57d6f6db707a" providerId="ADAL" clId="{14D8942D-9FDB-4A17-ADD4-F0671120DCAF}" dt="2025-10-17T06:49:41.803" v="250" actId="20577"/>
          <ac:spMkLst>
            <pc:docMk/>
            <pc:sldMk cId="3240899165" sldId="2212"/>
            <ac:spMk id="34" creationId="{CB13E79F-7D16-2D71-1D1C-182C5ADADB01}"/>
          </ac:spMkLst>
        </pc:spChg>
        <pc:spChg chg="mod">
          <ac:chgData name="Berdibek Sarsen" userId="45dd48cd-369f-40d9-b087-57d6f6db707a" providerId="ADAL" clId="{14D8942D-9FDB-4A17-ADD4-F0671120DCAF}" dt="2025-10-17T06:49:35.209" v="236" actId="20577"/>
          <ac:spMkLst>
            <pc:docMk/>
            <pc:sldMk cId="3240899165" sldId="2212"/>
            <ac:spMk id="35" creationId="{D5965B4C-A8D8-46F2-C547-CF686E2F5FE8}"/>
          </ac:spMkLst>
        </pc:spChg>
        <pc:spChg chg="mod">
          <ac:chgData name="Berdibek Sarsen" userId="45dd48cd-369f-40d9-b087-57d6f6db707a" providerId="ADAL" clId="{14D8942D-9FDB-4A17-ADD4-F0671120DCAF}" dt="2025-10-17T06:49:30.415" v="231" actId="20577"/>
          <ac:spMkLst>
            <pc:docMk/>
            <pc:sldMk cId="3240899165" sldId="2212"/>
            <ac:spMk id="37" creationId="{7FCAACB0-BE87-63B6-3F0F-422BAC2C2E3F}"/>
          </ac:spMkLst>
        </pc:spChg>
        <pc:spChg chg="mod">
          <ac:chgData name="Berdibek Sarsen" userId="45dd48cd-369f-40d9-b087-57d6f6db707a" providerId="ADAL" clId="{14D8942D-9FDB-4A17-ADD4-F0671120DCAF}" dt="2025-10-17T06:48:37.702" v="187" actId="20577"/>
          <ac:spMkLst>
            <pc:docMk/>
            <pc:sldMk cId="3240899165" sldId="2212"/>
            <ac:spMk id="39" creationId="{C7654679-D958-FF89-D3DF-E026B4F18A57}"/>
          </ac:spMkLst>
        </pc:spChg>
        <pc:spChg chg="mod">
          <ac:chgData name="Berdibek Sarsen" userId="45dd48cd-369f-40d9-b087-57d6f6db707a" providerId="ADAL" clId="{14D8942D-9FDB-4A17-ADD4-F0671120DCAF}" dt="2025-10-17T06:49:13.835" v="217" actId="20577"/>
          <ac:spMkLst>
            <pc:docMk/>
            <pc:sldMk cId="3240899165" sldId="2212"/>
            <ac:spMk id="43" creationId="{7DBE0DEA-8478-9D58-6C91-3D2064B751E9}"/>
          </ac:spMkLst>
        </pc:spChg>
        <pc:spChg chg="mod">
          <ac:chgData name="Berdibek Sarsen" userId="45dd48cd-369f-40d9-b087-57d6f6db707a" providerId="ADAL" clId="{14D8942D-9FDB-4A17-ADD4-F0671120DCAF}" dt="2025-10-17T06:48:50.309" v="209" actId="20577"/>
          <ac:spMkLst>
            <pc:docMk/>
            <pc:sldMk cId="3240899165" sldId="2212"/>
            <ac:spMk id="44" creationId="{7CDA641A-90F2-0586-9EF4-2F29CFFCD52A}"/>
          </ac:spMkLst>
        </pc:spChg>
        <pc:spChg chg="mod">
          <ac:chgData name="Berdibek Sarsen" userId="45dd48cd-369f-40d9-b087-57d6f6db707a" providerId="ADAL" clId="{14D8942D-9FDB-4A17-ADD4-F0671120DCAF}" dt="2025-10-17T06:49:04.921" v="213" actId="20577"/>
          <ac:spMkLst>
            <pc:docMk/>
            <pc:sldMk cId="3240899165" sldId="2212"/>
            <ac:spMk id="45" creationId="{711DEC4B-DAF1-CABF-F614-99639F21B7D9}"/>
          </ac:spMkLst>
        </pc:spChg>
        <pc:spChg chg="mod">
          <ac:chgData name="Berdibek Sarsen" userId="45dd48cd-369f-40d9-b087-57d6f6db707a" providerId="ADAL" clId="{14D8942D-9FDB-4A17-ADD4-F0671120DCAF}" dt="2025-10-17T06:48:01.983" v="177" actId="20577"/>
          <ac:spMkLst>
            <pc:docMk/>
            <pc:sldMk cId="3240899165" sldId="2212"/>
            <ac:spMk id="46" creationId="{42055157-3FB9-B2DD-04E8-9BE44F1F2736}"/>
          </ac:spMkLst>
        </pc:spChg>
        <pc:spChg chg="mod">
          <ac:chgData name="Berdibek Sarsen" userId="45dd48cd-369f-40d9-b087-57d6f6db707a" providerId="ADAL" clId="{14D8942D-9FDB-4A17-ADD4-F0671120DCAF}" dt="2025-10-17T06:48:15.334" v="181" actId="20577"/>
          <ac:spMkLst>
            <pc:docMk/>
            <pc:sldMk cId="3240899165" sldId="2212"/>
            <ac:spMk id="47" creationId="{944499C0-9F55-32DD-B168-3DF315DDE32A}"/>
          </ac:spMkLst>
        </pc:spChg>
        <pc:spChg chg="mod">
          <ac:chgData name="Berdibek Sarsen" userId="45dd48cd-369f-40d9-b087-57d6f6db707a" providerId="ADAL" clId="{14D8942D-9FDB-4A17-ADD4-F0671120DCAF}" dt="2025-10-17T06:52:18.754" v="345" actId="20577"/>
          <ac:spMkLst>
            <pc:docMk/>
            <pc:sldMk cId="3240899165" sldId="2212"/>
            <ac:spMk id="54" creationId="{D38043D6-00E8-F40F-9AD9-60CC7A108446}"/>
          </ac:spMkLst>
        </pc:spChg>
        <pc:spChg chg="mod">
          <ac:chgData name="Berdibek Sarsen" userId="45dd48cd-369f-40d9-b087-57d6f6db707a" providerId="ADAL" clId="{14D8942D-9FDB-4A17-ADD4-F0671120DCAF}" dt="2025-10-17T06:52:11.972" v="341" actId="20577"/>
          <ac:spMkLst>
            <pc:docMk/>
            <pc:sldMk cId="3240899165" sldId="2212"/>
            <ac:spMk id="55" creationId="{2E1D981D-8940-2675-6E05-8B851F26D23D}"/>
          </ac:spMkLst>
        </pc:spChg>
        <pc:spChg chg="mod">
          <ac:chgData name="Berdibek Sarsen" userId="45dd48cd-369f-40d9-b087-57d6f6db707a" providerId="ADAL" clId="{14D8942D-9FDB-4A17-ADD4-F0671120DCAF}" dt="2025-10-17T06:51:37.538" v="319" actId="20577"/>
          <ac:spMkLst>
            <pc:docMk/>
            <pc:sldMk cId="3240899165" sldId="2212"/>
            <ac:spMk id="56" creationId="{3332D080-7070-42BE-DC26-2D5BD0EE8809}"/>
          </ac:spMkLst>
        </pc:spChg>
        <pc:spChg chg="mod">
          <ac:chgData name="Berdibek Sarsen" userId="45dd48cd-369f-40d9-b087-57d6f6db707a" providerId="ADAL" clId="{14D8942D-9FDB-4A17-ADD4-F0671120DCAF}" dt="2025-10-17T06:51:24.300" v="315" actId="20577"/>
          <ac:spMkLst>
            <pc:docMk/>
            <pc:sldMk cId="3240899165" sldId="2212"/>
            <ac:spMk id="57" creationId="{62DE413A-A09B-A2D6-80BD-7D1BECB33553}"/>
          </ac:spMkLst>
        </pc:spChg>
        <pc:spChg chg="mod">
          <ac:chgData name="Berdibek Sarsen" userId="45dd48cd-369f-40d9-b087-57d6f6db707a" providerId="ADAL" clId="{14D8942D-9FDB-4A17-ADD4-F0671120DCAF}" dt="2025-10-17T06:50:02.319" v="253"/>
          <ac:spMkLst>
            <pc:docMk/>
            <pc:sldMk cId="3240899165" sldId="2212"/>
            <ac:spMk id="58" creationId="{8838FB0C-B43D-3C36-F0C3-369DF44A1583}"/>
          </ac:spMkLst>
        </pc:spChg>
        <pc:spChg chg="mod">
          <ac:chgData name="Berdibek Sarsen" userId="45dd48cd-369f-40d9-b087-57d6f6db707a" providerId="ADAL" clId="{14D8942D-9FDB-4A17-ADD4-F0671120DCAF}" dt="2025-10-17T06:50:31.941" v="283" actId="20577"/>
          <ac:spMkLst>
            <pc:docMk/>
            <pc:sldMk cId="3240899165" sldId="2212"/>
            <ac:spMk id="59" creationId="{3DCB4B15-1ACC-F247-85BC-F1B791489BFC}"/>
          </ac:spMkLst>
        </pc:spChg>
        <pc:spChg chg="mod">
          <ac:chgData name="Berdibek Sarsen" userId="45dd48cd-369f-40d9-b087-57d6f6db707a" providerId="ADAL" clId="{14D8942D-9FDB-4A17-ADD4-F0671120DCAF}" dt="2025-10-17T06:50:09.370" v="273" actId="20577"/>
          <ac:spMkLst>
            <pc:docMk/>
            <pc:sldMk cId="3240899165" sldId="2212"/>
            <ac:spMk id="65" creationId="{5C74FBF2-FA21-E3DD-0723-629205D5D17D}"/>
          </ac:spMkLst>
        </pc:spChg>
        <pc:spChg chg="mod">
          <ac:chgData name="Berdibek Sarsen" userId="45dd48cd-369f-40d9-b087-57d6f6db707a" providerId="ADAL" clId="{14D8942D-9FDB-4A17-ADD4-F0671120DCAF}" dt="2025-10-17T06:50:21.464" v="277" actId="20577"/>
          <ac:spMkLst>
            <pc:docMk/>
            <pc:sldMk cId="3240899165" sldId="2212"/>
            <ac:spMk id="66" creationId="{B85DB970-9A3B-9AC4-9F07-B31EAAD33746}"/>
          </ac:spMkLst>
        </pc:spChg>
        <pc:spChg chg="mod">
          <ac:chgData name="Berdibek Sarsen" userId="45dd48cd-369f-40d9-b087-57d6f6db707a" providerId="ADAL" clId="{14D8942D-9FDB-4A17-ADD4-F0671120DCAF}" dt="2025-10-17T06:50:41.642" v="288" actId="20577"/>
          <ac:spMkLst>
            <pc:docMk/>
            <pc:sldMk cId="3240899165" sldId="2212"/>
            <ac:spMk id="70" creationId="{1A4AE75B-416B-FA5A-969E-489DBE797988}"/>
          </ac:spMkLst>
        </pc:spChg>
        <pc:grpChg chg="mod">
          <ac:chgData name="Berdibek Sarsen" userId="45dd48cd-369f-40d9-b087-57d6f6db707a" providerId="ADAL" clId="{14D8942D-9FDB-4A17-ADD4-F0671120DCAF}" dt="2025-10-17T06:48:33.363" v="182"/>
          <ac:grpSpMkLst>
            <pc:docMk/>
            <pc:sldMk cId="3240899165" sldId="2212"/>
            <ac:grpSpMk id="29" creationId="{ACA37DC7-92DF-DC26-A3E0-9E61263863D3}"/>
          </ac:grpSpMkLst>
        </pc:grpChg>
      </pc:sldChg>
      <pc:sldChg chg="modSp mod">
        <pc:chgData name="Berdibek Sarsen" userId="45dd48cd-369f-40d9-b087-57d6f6db707a" providerId="ADAL" clId="{14D8942D-9FDB-4A17-ADD4-F0671120DCAF}" dt="2025-10-17T06:29:17.287" v="108" actId="27918"/>
        <pc:sldMkLst>
          <pc:docMk/>
          <pc:sldMk cId="2566058658" sldId="2262"/>
        </pc:sldMkLst>
        <pc:spChg chg="mod">
          <ac:chgData name="Berdibek Sarsen" userId="45dd48cd-369f-40d9-b087-57d6f6db707a" providerId="ADAL" clId="{14D8942D-9FDB-4A17-ADD4-F0671120DCAF}" dt="2025-10-17T06:26:14.345" v="74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Berdibek Sarsen" userId="45dd48cd-369f-40d9-b087-57d6f6db707a" providerId="ADAL" clId="{14D8942D-9FDB-4A17-ADD4-F0671120DCAF}" dt="2025-10-17T06:26:27.767" v="82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Berdibek Sarsen" userId="45dd48cd-369f-40d9-b087-57d6f6db707a" providerId="ADAL" clId="{14D8942D-9FDB-4A17-ADD4-F0671120DCAF}" dt="2025-10-17T06:25:50.224" v="70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Berdibek Sarsen" userId="45dd48cd-369f-40d9-b087-57d6f6db707a" providerId="ADAL" clId="{14D8942D-9FDB-4A17-ADD4-F0671120DCAF}" dt="2025-10-17T06:28:16.246" v="100" actId="1076"/>
          <ac:spMkLst>
            <pc:docMk/>
            <pc:sldMk cId="2566058658" sldId="2262"/>
            <ac:spMk id="44" creationId="{CD3198DE-58B0-E5E0-18E7-F81C8715A1EA}"/>
          </ac:spMkLst>
        </pc:spChg>
        <pc:spChg chg="mod">
          <ac:chgData name="Berdibek Sarsen" userId="45dd48cd-369f-40d9-b087-57d6f6db707a" providerId="ADAL" clId="{14D8942D-9FDB-4A17-ADD4-F0671120DCAF}" dt="2025-10-17T06:28:08.918" v="99" actId="1076"/>
          <ac:spMkLst>
            <pc:docMk/>
            <pc:sldMk cId="2566058658" sldId="2262"/>
            <ac:spMk id="45" creationId="{A3D56409-1C32-50F1-5F05-2A4028C0C1EA}"/>
          </ac:spMkLst>
        </pc:spChg>
        <pc:spChg chg="mod">
          <ac:chgData name="Berdibek Sarsen" userId="45dd48cd-369f-40d9-b087-57d6f6db707a" providerId="ADAL" clId="{14D8942D-9FDB-4A17-ADD4-F0671120DCAF}" dt="2025-10-17T06:28:02.843" v="98" actId="1076"/>
          <ac:spMkLst>
            <pc:docMk/>
            <pc:sldMk cId="2566058658" sldId="2262"/>
            <ac:spMk id="46" creationId="{7AC14A28-5CED-BE45-8F72-F57B645269FB}"/>
          </ac:spMkLst>
        </pc:spChg>
        <pc:spChg chg="mod">
          <ac:chgData name="Berdibek Sarsen" userId="45dd48cd-369f-40d9-b087-57d6f6db707a" providerId="ADAL" clId="{14D8942D-9FDB-4A17-ADD4-F0671120DCAF}" dt="2025-10-17T06:27:56.147" v="97" actId="1076"/>
          <ac:spMkLst>
            <pc:docMk/>
            <pc:sldMk cId="2566058658" sldId="2262"/>
            <ac:spMk id="47" creationId="{58021AA8-2A22-5176-4382-449DD219FC5A}"/>
          </ac:spMkLst>
        </pc:spChg>
        <pc:spChg chg="mod">
          <ac:chgData name="Berdibek Sarsen" userId="45dd48cd-369f-40d9-b087-57d6f6db707a" providerId="ADAL" clId="{14D8942D-9FDB-4A17-ADD4-F0671120DCAF}" dt="2025-10-17T06:29:06.758" v="107" actId="1076"/>
          <ac:spMkLst>
            <pc:docMk/>
            <pc:sldMk cId="2566058658" sldId="2262"/>
            <ac:spMk id="125" creationId="{9D79941C-6212-BEEC-AFA4-74ED0348277F}"/>
          </ac:spMkLst>
        </pc:spChg>
      </pc:sldChg>
      <pc:sldChg chg="modSp mod">
        <pc:chgData name="Berdibek Sarsen" userId="45dd48cd-369f-40d9-b087-57d6f6db707a" providerId="ADAL" clId="{14D8942D-9FDB-4A17-ADD4-F0671120DCAF}" dt="2025-10-17T05:45:51.139" v="51" actId="20577"/>
        <pc:sldMkLst>
          <pc:docMk/>
          <pc:sldMk cId="2278701123" sldId="2277"/>
        </pc:sldMkLst>
        <pc:spChg chg="mod">
          <ac:chgData name="Berdibek Sarsen" userId="45dd48cd-369f-40d9-b087-57d6f6db707a" providerId="ADAL" clId="{14D8942D-9FDB-4A17-ADD4-F0671120DCAF}" dt="2025-10-17T05:36:51.317" v="41" actId="20577"/>
          <ac:spMkLst>
            <pc:docMk/>
            <pc:sldMk cId="2278701123" sldId="2277"/>
            <ac:spMk id="36" creationId="{03560DEE-38F3-4857-D339-93070E0C0A9F}"/>
          </ac:spMkLst>
        </pc:spChg>
        <pc:spChg chg="mod">
          <ac:chgData name="Berdibek Sarsen" userId="45dd48cd-369f-40d9-b087-57d6f6db707a" providerId="ADAL" clId="{14D8942D-9FDB-4A17-ADD4-F0671120DCAF}" dt="2025-10-17T05:30:57.743" v="39" actId="2711"/>
          <ac:spMkLst>
            <pc:docMk/>
            <pc:sldMk cId="2278701123" sldId="2277"/>
            <ac:spMk id="68" creationId="{2ECA0113-5FE2-F5DA-CE28-D2A789698078}"/>
          </ac:spMkLst>
        </pc:spChg>
      </pc:sldChg>
    </pc:docChg>
  </pc:docChgLst>
  <pc:docChgLst>
    <pc:chgData name="Aruzhan Bakhazatkhanova" userId="c778e498-cb36-475a-b96c-6ba69ac00b7a" providerId="ADAL" clId="{E592AD09-91A4-44C3-AAEB-F50ADE0B4BE2}"/>
    <pc:docChg chg="undo custSel addSld delSld modSld">
      <pc:chgData name="Aruzhan Bakhazatkhanova" userId="c778e498-cb36-475a-b96c-6ba69ac00b7a" providerId="ADAL" clId="{E592AD09-91A4-44C3-AAEB-F50ADE0B4BE2}" dt="2025-08-06T07:05:37.755" v="649" actId="20577"/>
      <pc:docMkLst>
        <pc:docMk/>
      </pc:docMkLst>
      <pc:sldChg chg="addSp delSp modSp mod">
        <pc:chgData name="Aruzhan Bakhazatkhanova" userId="c778e498-cb36-475a-b96c-6ba69ac00b7a" providerId="ADAL" clId="{E592AD09-91A4-44C3-AAEB-F50ADE0B4BE2}" dt="2025-08-06T04:17:48.790" v="521" actId="20577"/>
        <pc:sldMkLst>
          <pc:docMk/>
          <pc:sldMk cId="4078718328" sldId="2184"/>
        </pc:sldMkLst>
      </pc:sldChg>
      <pc:sldChg chg="addSp delSp modSp mod">
        <pc:chgData name="Aruzhan Bakhazatkhanova" userId="c778e498-cb36-475a-b96c-6ba69ac00b7a" providerId="ADAL" clId="{E592AD09-91A4-44C3-AAEB-F50ADE0B4BE2}" dt="2025-08-06T06:00:30.348" v="632" actId="123"/>
        <pc:sldMkLst>
          <pc:docMk/>
          <pc:sldMk cId="2298565077" sldId="2186"/>
        </pc:sldMkLst>
      </pc:sldChg>
      <pc:sldChg chg="addSp delSp modSp mod">
        <pc:chgData name="Aruzhan Bakhazatkhanova" userId="c778e498-cb36-475a-b96c-6ba69ac00b7a" providerId="ADAL" clId="{E592AD09-91A4-44C3-AAEB-F50ADE0B4BE2}" dt="2025-08-06T04:19:46.611" v="540" actId="20577"/>
        <pc:sldMkLst>
          <pc:docMk/>
          <pc:sldMk cId="1727869833" sldId="2187"/>
        </pc:sldMkLst>
      </pc:sldChg>
      <pc:sldChg chg="modSp mod">
        <pc:chgData name="Aruzhan Bakhazatkhanova" userId="c778e498-cb36-475a-b96c-6ba69ac00b7a" providerId="ADAL" clId="{E592AD09-91A4-44C3-AAEB-F50ADE0B4BE2}" dt="2025-08-06T04:18:22.322" v="539" actId="20577"/>
        <pc:sldMkLst>
          <pc:docMk/>
          <pc:sldMk cId="3240899165" sldId="2212"/>
        </pc:sldMkLst>
      </pc:sldChg>
      <pc:sldChg chg="addSp delSp modSp mod">
        <pc:chgData name="Aruzhan Bakhazatkhanova" userId="c778e498-cb36-475a-b96c-6ba69ac00b7a" providerId="ADAL" clId="{E592AD09-91A4-44C3-AAEB-F50ADE0B4BE2}" dt="2025-08-06T06:00:21.458" v="631" actId="123"/>
        <pc:sldMkLst>
          <pc:docMk/>
          <pc:sldMk cId="2566058658" sldId="2262"/>
        </pc:sldMkLst>
      </pc:sldChg>
      <pc:sldChg chg="addSp delSp modSp mod">
        <pc:chgData name="Aruzhan Bakhazatkhanova" userId="c778e498-cb36-475a-b96c-6ba69ac00b7a" providerId="ADAL" clId="{E592AD09-91A4-44C3-AAEB-F50ADE0B4BE2}" dt="2025-08-06T06:00:16.275" v="630" actId="123"/>
        <pc:sldMkLst>
          <pc:docMk/>
          <pc:sldMk cId="1261594426" sldId="2272"/>
        </pc:sldMkLst>
      </pc:sldChg>
      <pc:sldChg chg="addSp delSp modSp add del mod">
        <pc:chgData name="Aruzhan Bakhazatkhanova" userId="c778e498-cb36-475a-b96c-6ba69ac00b7a" providerId="ADAL" clId="{E592AD09-91A4-44C3-AAEB-F50ADE0B4BE2}" dt="2025-08-06T05:22:05.497" v="600" actId="1037"/>
        <pc:sldMkLst>
          <pc:docMk/>
          <pc:sldMk cId="3326975222" sldId="2273"/>
        </pc:sldMkLst>
      </pc:sldChg>
      <pc:sldChg chg="addSp delSp modSp mod">
        <pc:chgData name="Aruzhan Bakhazatkhanova" userId="c778e498-cb36-475a-b96c-6ba69ac00b7a" providerId="ADAL" clId="{E592AD09-91A4-44C3-AAEB-F50ADE0B4BE2}" dt="2025-08-06T04:10:47.104" v="469" actId="27918"/>
        <pc:sldMkLst>
          <pc:docMk/>
          <pc:sldMk cId="2278701123" sldId="2277"/>
        </pc:sldMkLst>
      </pc:sldChg>
      <pc:sldChg chg="modSp mod">
        <pc:chgData name="Aruzhan Bakhazatkhanova" userId="c778e498-cb36-475a-b96c-6ba69ac00b7a" providerId="ADAL" clId="{E592AD09-91A4-44C3-AAEB-F50ADE0B4BE2}" dt="2025-08-06T07:05:37.755" v="649" actId="20577"/>
        <pc:sldMkLst>
          <pc:docMk/>
          <pc:sldMk cId="2651520157" sldId="2278"/>
        </pc:sldMkLst>
      </pc:sldChg>
      <pc:sldChg chg="addSp delSp modSp add del mod">
        <pc:chgData name="Aruzhan Bakhazatkhanova" userId="c778e498-cb36-475a-b96c-6ba69ac00b7a" providerId="ADAL" clId="{E592AD09-91A4-44C3-AAEB-F50ADE0B4BE2}" dt="2025-08-06T05:21:57.090" v="591" actId="47"/>
        <pc:sldMkLst>
          <pc:docMk/>
          <pc:sldMk cId="2652485421" sldId="2279"/>
        </pc:sldMkLst>
      </pc:sldChg>
      <pc:sldChg chg="modSp add del mod">
        <pc:chgData name="Aruzhan Bakhazatkhanova" userId="c778e498-cb36-475a-b96c-6ba69ac00b7a" providerId="ADAL" clId="{E592AD09-91A4-44C3-AAEB-F50ADE0B4BE2}" dt="2025-08-06T06:00:10.145" v="629" actId="123"/>
        <pc:sldMkLst>
          <pc:docMk/>
          <pc:sldMk cId="3383460671" sldId="2280"/>
        </pc:sldMkLst>
      </pc:sldChg>
    </pc:docChg>
  </pc:docChgLst>
  <pc:docChgLst>
    <pc:chgData name="Berdibek Sarsen" userId="45dd48cd-369f-40d9-b087-57d6f6db707a" providerId="ADAL" clId="{6EA3E968-9906-4837-8A7B-B802EA86C0FD}"/>
    <pc:docChg chg="undo custSel addSld delSld modSld">
      <pc:chgData name="Berdibek Sarsen" userId="45dd48cd-369f-40d9-b087-57d6f6db707a" providerId="ADAL" clId="{6EA3E968-9906-4837-8A7B-B802EA86C0FD}" dt="2025-08-06T06:11:37.406" v="1590" actId="14100"/>
      <pc:docMkLst>
        <pc:docMk/>
      </pc:docMkLst>
      <pc:sldChg chg="delSp modSp mod">
        <pc:chgData name="Berdibek Sarsen" userId="45dd48cd-369f-40d9-b087-57d6f6db707a" providerId="ADAL" clId="{6EA3E968-9906-4837-8A7B-B802EA86C0FD}" dt="2025-08-06T05:17:12.850" v="1585" actId="20577"/>
        <pc:sldMkLst>
          <pc:docMk/>
          <pc:sldMk cId="4078718328" sldId="2184"/>
        </pc:sldMkLst>
      </pc:sldChg>
      <pc:sldChg chg="modSp mod">
        <pc:chgData name="Berdibek Sarsen" userId="45dd48cd-369f-40d9-b087-57d6f6db707a" providerId="ADAL" clId="{6EA3E968-9906-4837-8A7B-B802EA86C0FD}" dt="2025-08-06T04:08:15.058" v="1544" actId="27918"/>
        <pc:sldMkLst>
          <pc:docMk/>
          <pc:sldMk cId="2298565077" sldId="2186"/>
        </pc:sldMkLst>
      </pc:sldChg>
      <pc:sldChg chg="modSp mod">
        <pc:chgData name="Berdibek Sarsen" userId="45dd48cd-369f-40d9-b087-57d6f6db707a" providerId="ADAL" clId="{6EA3E968-9906-4837-8A7B-B802EA86C0FD}" dt="2025-08-06T05:24:27.077" v="1586" actId="20577"/>
        <pc:sldMkLst>
          <pc:docMk/>
          <pc:sldMk cId="1727869833" sldId="2187"/>
        </pc:sldMkLst>
      </pc:sldChg>
      <pc:sldChg chg="modSp mod">
        <pc:chgData name="Berdibek Sarsen" userId="45dd48cd-369f-40d9-b087-57d6f6db707a" providerId="ADAL" clId="{6EA3E968-9906-4837-8A7B-B802EA86C0FD}" dt="2025-07-23T11:41:16.711" v="524" actId="20577"/>
        <pc:sldMkLst>
          <pc:docMk/>
          <pc:sldMk cId="3240899165" sldId="2212"/>
        </pc:sldMkLst>
      </pc:sldChg>
      <pc:sldChg chg="addSp delSp modSp mod">
        <pc:chgData name="Berdibek Sarsen" userId="45dd48cd-369f-40d9-b087-57d6f6db707a" providerId="ADAL" clId="{6EA3E968-9906-4837-8A7B-B802EA86C0FD}" dt="2025-08-06T06:10:38.242" v="1588" actId="20577"/>
        <pc:sldMkLst>
          <pc:docMk/>
          <pc:sldMk cId="2566058658" sldId="2262"/>
        </pc:sldMkLst>
      </pc:sldChg>
      <pc:sldChg chg="addSp delSp modSp mod">
        <pc:chgData name="Berdibek Sarsen" userId="45dd48cd-369f-40d9-b087-57d6f6db707a" providerId="ADAL" clId="{6EA3E968-9906-4837-8A7B-B802EA86C0FD}" dt="2025-07-24T05:13:58.664" v="647" actId="1076"/>
        <pc:sldMkLst>
          <pc:docMk/>
          <pc:sldMk cId="2195275125" sldId="2264"/>
        </pc:sldMkLst>
      </pc:sldChg>
      <pc:sldChg chg="modSp mod">
        <pc:chgData name="Berdibek Sarsen" userId="45dd48cd-369f-40d9-b087-57d6f6db707a" providerId="ADAL" clId="{6EA3E968-9906-4837-8A7B-B802EA86C0FD}" dt="2025-07-23T11:27:22.264" v="149" actId="20577"/>
        <pc:sldMkLst>
          <pc:docMk/>
          <pc:sldMk cId="1261594426" sldId="2272"/>
        </pc:sldMkLst>
      </pc:sldChg>
      <pc:sldChg chg="modSp add mod">
        <pc:chgData name="Berdibek Sarsen" userId="45dd48cd-369f-40d9-b087-57d6f6db707a" providerId="ADAL" clId="{6EA3E968-9906-4837-8A7B-B802EA86C0FD}" dt="2025-07-24T12:22:23.807" v="973" actId="20577"/>
        <pc:sldMkLst>
          <pc:docMk/>
          <pc:sldMk cId="3326975222" sldId="2273"/>
        </pc:sldMkLst>
      </pc:sldChg>
      <pc:sldChg chg="delSp modSp del mod">
        <pc:chgData name="Berdibek Sarsen" userId="45dd48cd-369f-40d9-b087-57d6f6db707a" providerId="ADAL" clId="{6EA3E968-9906-4837-8A7B-B802EA86C0FD}" dt="2025-08-05T11:48:10.762" v="1252" actId="2696"/>
        <pc:sldMkLst>
          <pc:docMk/>
          <pc:sldMk cId="1233836883" sldId="2274"/>
        </pc:sldMkLst>
      </pc:sldChg>
      <pc:sldChg chg="modSp mod">
        <pc:chgData name="Berdibek Sarsen" userId="45dd48cd-369f-40d9-b087-57d6f6db707a" providerId="ADAL" clId="{6EA3E968-9906-4837-8A7B-B802EA86C0FD}" dt="2025-08-06T06:11:37.406" v="1590" actId="14100"/>
        <pc:sldMkLst>
          <pc:docMk/>
          <pc:sldMk cId="2278701123" sldId="2277"/>
        </pc:sldMkLst>
      </pc:sldChg>
      <pc:sldChg chg="modSp mod">
        <pc:chgData name="Berdibek Sarsen" userId="45dd48cd-369f-40d9-b087-57d6f6db707a" providerId="ADAL" clId="{6EA3E968-9906-4837-8A7B-B802EA86C0FD}" dt="2025-07-23T10:42:12.989" v="4" actId="20577"/>
        <pc:sldMkLst>
          <pc:docMk/>
          <pc:sldMk cId="2651520157" sldId="2278"/>
        </pc:sldMkLst>
      </pc:sldChg>
      <pc:sldChg chg="new del">
        <pc:chgData name="Berdibek Sarsen" userId="45dd48cd-369f-40d9-b087-57d6f6db707a" providerId="ADAL" clId="{6EA3E968-9906-4837-8A7B-B802EA86C0FD}" dt="2025-08-05T11:37:49.257" v="1084" actId="47"/>
        <pc:sldMkLst>
          <pc:docMk/>
          <pc:sldMk cId="2191699006" sldId="2280"/>
        </pc:sldMkLst>
      </pc:sldChg>
      <pc:sldChg chg="modSp add mod">
        <pc:chgData name="Berdibek Sarsen" userId="45dd48cd-369f-40d9-b087-57d6f6db707a" providerId="ADAL" clId="{6EA3E968-9906-4837-8A7B-B802EA86C0FD}" dt="2025-08-06T04:38:02.790" v="1584" actId="20577"/>
        <pc:sldMkLst>
          <pc:docMk/>
          <pc:sldMk cId="3383460671" sldId="2280"/>
        </pc:sldMkLst>
      </pc:sldChg>
      <pc:sldChg chg="new del">
        <pc:chgData name="Berdibek Sarsen" userId="45dd48cd-369f-40d9-b087-57d6f6db707a" providerId="ADAL" clId="{6EA3E968-9906-4837-8A7B-B802EA86C0FD}" dt="2025-08-05T11:37:42.021" v="1082" actId="47"/>
        <pc:sldMkLst>
          <pc:docMk/>
          <pc:sldMk cId="3833598755" sldId="2280"/>
        </pc:sldMkLst>
      </pc:sldChg>
    </pc:docChg>
  </pc:docChgLst>
  <pc:docChgLst>
    <pc:chgData name="Aruzhan Bakhazatkhanova" userId="c778e498-cb36-475a-b96c-6ba69ac00b7a" providerId="ADAL" clId="{6D92F819-21BB-460E-9396-57672536A5C8}"/>
    <pc:docChg chg="undo redo custSel addSld delSld modSld">
      <pc:chgData name="Aruzhan Bakhazatkhanova" userId="c778e498-cb36-475a-b96c-6ba69ac00b7a" providerId="ADAL" clId="{6D92F819-21BB-460E-9396-57672536A5C8}" dt="2025-10-24T10:23:32.604" v="1248" actId="1036"/>
      <pc:docMkLst>
        <pc:docMk/>
      </pc:docMkLst>
      <pc:sldChg chg="modSp mod">
        <pc:chgData name="Aruzhan Bakhazatkhanova" userId="c778e498-cb36-475a-b96c-6ba69ac00b7a" providerId="ADAL" clId="{6D92F819-21BB-460E-9396-57672536A5C8}" dt="2025-10-20T05:44:50.301" v="527" actId="20577"/>
        <pc:sldMkLst>
          <pc:docMk/>
          <pc:sldMk cId="4078718328" sldId="2184"/>
        </pc:sldMkLst>
        <pc:spChg chg="mod">
          <ac:chgData name="Aruzhan Bakhazatkhanova" userId="c778e498-cb36-475a-b96c-6ba69ac00b7a" providerId="ADAL" clId="{6D92F819-21BB-460E-9396-57672536A5C8}" dt="2025-10-20T05:44:50.301" v="527" actId="20577"/>
          <ac:spMkLst>
            <pc:docMk/>
            <pc:sldMk cId="4078718328" sldId="2184"/>
            <ac:spMk id="8" creationId="{85697E62-4051-88FC-C94D-84493D08BE8E}"/>
          </ac:spMkLst>
        </pc:spChg>
      </pc:sldChg>
      <pc:sldChg chg="addSp modSp mod">
        <pc:chgData name="Aruzhan Bakhazatkhanova" userId="c778e498-cb36-475a-b96c-6ba69ac00b7a" providerId="ADAL" clId="{6D92F819-21BB-460E-9396-57672536A5C8}" dt="2025-10-24T10:18:24.348" v="1229" actId="1036"/>
        <pc:sldMkLst>
          <pc:docMk/>
          <pc:sldMk cId="2298565077" sldId="2186"/>
        </pc:sldMkLst>
        <pc:spChg chg="mod">
          <ac:chgData name="Aruzhan Bakhazatkhanova" userId="c778e498-cb36-475a-b96c-6ba69ac00b7a" providerId="ADAL" clId="{6D92F819-21BB-460E-9396-57672536A5C8}" dt="2025-10-24T10:15:10.353" v="1166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6D92F819-21BB-460E-9396-57672536A5C8}" dt="2025-10-24T10:15:05.832" v="1164" actId="20577"/>
          <ac:spMkLst>
            <pc:docMk/>
            <pc:sldMk cId="2298565077" sldId="2186"/>
            <ac:spMk id="45" creationId="{FB0CAE96-5F9C-ACCC-9EFD-BFC6551FC96D}"/>
          </ac:spMkLst>
        </pc:spChg>
        <pc:spChg chg="mod">
          <ac:chgData name="Aruzhan Bakhazatkhanova" userId="c778e498-cb36-475a-b96c-6ba69ac00b7a" providerId="ADAL" clId="{6D92F819-21BB-460E-9396-57672536A5C8}" dt="2025-10-24T10:15:14.841" v="1168" actId="20577"/>
          <ac:spMkLst>
            <pc:docMk/>
            <pc:sldMk cId="2298565077" sldId="2186"/>
            <ac:spMk id="54" creationId="{8C3A6160-9C69-6208-E6C0-CB81E01F8512}"/>
          </ac:spMkLst>
        </pc:spChg>
        <pc:spChg chg="mod">
          <ac:chgData name="Aruzhan Bakhazatkhanova" userId="c778e498-cb36-475a-b96c-6ba69ac00b7a" providerId="ADAL" clId="{6D92F819-21BB-460E-9396-57672536A5C8}" dt="2025-10-24T10:17:52.306" v="1202" actId="20577"/>
          <ac:spMkLst>
            <pc:docMk/>
            <pc:sldMk cId="2298565077" sldId="2186"/>
            <ac:spMk id="60" creationId="{010D80E2-7611-351F-D297-F138064870C6}"/>
          </ac:spMkLst>
        </pc:spChg>
        <pc:spChg chg="mod">
          <ac:chgData name="Aruzhan Bakhazatkhanova" userId="c778e498-cb36-475a-b96c-6ba69ac00b7a" providerId="ADAL" clId="{6D92F819-21BB-460E-9396-57672536A5C8}" dt="2025-10-24T10:17:34.090" v="1190"/>
          <ac:spMkLst>
            <pc:docMk/>
            <pc:sldMk cId="2298565077" sldId="2186"/>
            <ac:spMk id="61" creationId="{9A234692-4035-F08B-AC4B-54302F78CCF3}"/>
          </ac:spMkLst>
        </pc:spChg>
        <pc:spChg chg="mod">
          <ac:chgData name="Aruzhan Bakhazatkhanova" userId="c778e498-cb36-475a-b96c-6ba69ac00b7a" providerId="ADAL" clId="{6D92F819-21BB-460E-9396-57672536A5C8}" dt="2025-10-24T10:17:34.090" v="1190"/>
          <ac:spMkLst>
            <pc:docMk/>
            <pc:sldMk cId="2298565077" sldId="2186"/>
            <ac:spMk id="62" creationId="{4BF5D544-5F92-E74D-2555-7A4F0AB2A203}"/>
          </ac:spMkLst>
        </pc:spChg>
        <pc:spChg chg="mod">
          <ac:chgData name="Aruzhan Bakhazatkhanova" userId="c778e498-cb36-475a-b96c-6ba69ac00b7a" providerId="ADAL" clId="{6D92F819-21BB-460E-9396-57672536A5C8}" dt="2025-10-24T10:17:34.090" v="1190"/>
          <ac:spMkLst>
            <pc:docMk/>
            <pc:sldMk cId="2298565077" sldId="2186"/>
            <ac:spMk id="63" creationId="{C9A9C63B-2281-DA81-CCA0-FF0E68AB1F3D}"/>
          </ac:spMkLst>
        </pc:spChg>
        <pc:spChg chg="mod">
          <ac:chgData name="Aruzhan Bakhazatkhanova" userId="c778e498-cb36-475a-b96c-6ba69ac00b7a" providerId="ADAL" clId="{6D92F819-21BB-460E-9396-57672536A5C8}" dt="2025-10-24T10:17:34.090" v="1190"/>
          <ac:spMkLst>
            <pc:docMk/>
            <pc:sldMk cId="2298565077" sldId="2186"/>
            <ac:spMk id="64" creationId="{5036A5E3-39FC-0F03-82BA-6946A9F8C22F}"/>
          </ac:spMkLst>
        </pc:spChg>
        <pc:spChg chg="mod">
          <ac:chgData name="Aruzhan Bakhazatkhanova" userId="c778e498-cb36-475a-b96c-6ba69ac00b7a" providerId="ADAL" clId="{6D92F819-21BB-460E-9396-57672536A5C8}" dt="2025-10-24T10:18:24.348" v="1229" actId="1036"/>
          <ac:spMkLst>
            <pc:docMk/>
            <pc:sldMk cId="2298565077" sldId="2186"/>
            <ac:spMk id="65" creationId="{A71560D0-E154-141B-8B7C-20A792D932CE}"/>
          </ac:spMkLst>
        </pc:spChg>
        <pc:spChg chg="mod">
          <ac:chgData name="Aruzhan Bakhazatkhanova" userId="c778e498-cb36-475a-b96c-6ba69ac00b7a" providerId="ADAL" clId="{6D92F819-21BB-460E-9396-57672536A5C8}" dt="2025-10-24T10:17:34.090" v="1190"/>
          <ac:spMkLst>
            <pc:docMk/>
            <pc:sldMk cId="2298565077" sldId="2186"/>
            <ac:spMk id="66" creationId="{49A3E01F-F998-CC7B-13D8-D91CD0B70DFA}"/>
          </ac:spMkLst>
        </pc:spChg>
        <pc:grpChg chg="mod">
          <ac:chgData name="Aruzhan Bakhazatkhanova" userId="c778e498-cb36-475a-b96c-6ba69ac00b7a" providerId="ADAL" clId="{6D92F819-21BB-460E-9396-57672536A5C8}" dt="2025-10-24T10:18:14.773" v="1210" actId="1076"/>
          <ac:grpSpMkLst>
            <pc:docMk/>
            <pc:sldMk cId="2298565077" sldId="2186"/>
            <ac:grpSpMk id="57" creationId="{868E61B7-F7E9-6643-6763-7D2778D936C4}"/>
          </ac:grpSpMkLst>
        </pc:grpChg>
        <pc:graphicFrameChg chg="add mod">
          <ac:chgData name="Aruzhan Bakhazatkhanova" userId="c778e498-cb36-475a-b96c-6ba69ac00b7a" providerId="ADAL" clId="{6D92F819-21BB-460E-9396-57672536A5C8}" dt="2025-10-24T10:18:17.619" v="1216" actId="1037"/>
          <ac:graphicFrameMkLst>
            <pc:docMk/>
            <pc:sldMk cId="2298565077" sldId="2186"/>
            <ac:graphicFrameMk id="2" creationId="{73226DDE-2BAF-4DAE-44AB-A61C5E50FB7E}"/>
          </ac:graphicFrameMkLst>
        </pc:graphicFrameChg>
      </pc:sldChg>
      <pc:sldChg chg="addSp delSp modSp mod">
        <pc:chgData name="Aruzhan Bakhazatkhanova" userId="c778e498-cb36-475a-b96c-6ba69ac00b7a" providerId="ADAL" clId="{6D92F819-21BB-460E-9396-57672536A5C8}" dt="2025-10-24T10:12:57.283" v="1161" actId="478"/>
        <pc:sldMkLst>
          <pc:docMk/>
          <pc:sldMk cId="1727869833" sldId="2187"/>
        </pc:sldMkLst>
        <pc:spChg chg="mod">
          <ac:chgData name="Aruzhan Bakhazatkhanova" userId="c778e498-cb36-475a-b96c-6ba69ac00b7a" providerId="ADAL" clId="{6D92F819-21BB-460E-9396-57672536A5C8}" dt="2025-10-20T06:10:28.750" v="660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Aruzhan Bakhazatkhanova" userId="c778e498-cb36-475a-b96c-6ba69ac00b7a" providerId="ADAL" clId="{6D92F819-21BB-460E-9396-57672536A5C8}" dt="2025-10-20T06:11:21.544" v="664" actId="14100"/>
          <ac:spMkLst>
            <pc:docMk/>
            <pc:sldMk cId="1727869833" sldId="2187"/>
            <ac:spMk id="6" creationId="{A719B2AA-9C85-1810-D9D5-F90133248D43}"/>
          </ac:spMkLst>
        </pc:spChg>
        <pc:spChg chg="mod">
          <ac:chgData name="Aruzhan Bakhazatkhanova" userId="c778e498-cb36-475a-b96c-6ba69ac00b7a" providerId="ADAL" clId="{6D92F819-21BB-460E-9396-57672536A5C8}" dt="2025-10-20T06:10:16.439" v="657" actId="20577"/>
          <ac:spMkLst>
            <pc:docMk/>
            <pc:sldMk cId="1727869833" sldId="2187"/>
            <ac:spMk id="8" creationId="{85697E62-4051-88FC-C94D-84493D08BE8E}"/>
          </ac:spMkLst>
        </pc:spChg>
        <pc:spChg chg="add del mod">
          <ac:chgData name="Aruzhan Bakhazatkhanova" userId="c778e498-cb36-475a-b96c-6ba69ac00b7a" providerId="ADAL" clId="{6D92F819-21BB-460E-9396-57672536A5C8}" dt="2025-10-24T10:12:57.283" v="1161" actId="478"/>
          <ac:spMkLst>
            <pc:docMk/>
            <pc:sldMk cId="1727869833" sldId="2187"/>
            <ac:spMk id="12" creationId="{F242FE97-DC56-3763-7C79-B3F0852AA955}"/>
          </ac:spMkLst>
        </pc:spChg>
        <pc:spChg chg="mod">
          <ac:chgData name="Aruzhan Bakhazatkhanova" userId="c778e498-cb36-475a-b96c-6ba69ac00b7a" providerId="ADAL" clId="{6D92F819-21BB-460E-9396-57672536A5C8}" dt="2025-10-20T06:10:34.621" v="663" actId="20577"/>
          <ac:spMkLst>
            <pc:docMk/>
            <pc:sldMk cId="1727869833" sldId="2187"/>
            <ac:spMk id="30" creationId="{1EF8A265-7911-B274-2E61-42A4C8C332CC}"/>
          </ac:spMkLst>
        </pc:spChg>
      </pc:sldChg>
      <pc:sldChg chg="modSp del mod">
        <pc:chgData name="Aruzhan Bakhazatkhanova" userId="c778e498-cb36-475a-b96c-6ba69ac00b7a" providerId="ADAL" clId="{6D92F819-21BB-460E-9396-57672536A5C8}" dt="2025-10-24T10:02:45.176" v="946" actId="47"/>
        <pc:sldMkLst>
          <pc:docMk/>
          <pc:sldMk cId="2877417444" sldId="2192"/>
        </pc:sldMkLst>
      </pc:sldChg>
      <pc:sldChg chg="addSp delSp modSp mod">
        <pc:chgData name="Aruzhan Bakhazatkhanova" userId="c778e498-cb36-475a-b96c-6ba69ac00b7a" providerId="ADAL" clId="{6D92F819-21BB-460E-9396-57672536A5C8}" dt="2025-10-24T10:10:41.950" v="1158" actId="14100"/>
        <pc:sldMkLst>
          <pc:docMk/>
          <pc:sldMk cId="3240899165" sldId="2212"/>
        </pc:sldMkLst>
        <pc:spChg chg="add del mod">
          <ac:chgData name="Aruzhan Bakhazatkhanova" userId="c778e498-cb36-475a-b96c-6ba69ac00b7a" providerId="ADAL" clId="{6D92F819-21BB-460E-9396-57672536A5C8}" dt="2025-10-24T10:04:10.785" v="960" actId="22"/>
          <ac:spMkLst>
            <pc:docMk/>
            <pc:sldMk cId="3240899165" sldId="2212"/>
            <ac:spMk id="4" creationId="{209C462E-3039-477C-CBF2-1B9D84DB04F9}"/>
          </ac:spMkLst>
        </pc:spChg>
        <pc:spChg chg="mod">
          <ac:chgData name="Aruzhan Bakhazatkhanova" userId="c778e498-cb36-475a-b96c-6ba69ac00b7a" providerId="ADAL" clId="{6D92F819-21BB-460E-9396-57672536A5C8}" dt="2025-10-24T10:07:55.159" v="1044" actId="14100"/>
          <ac:spMkLst>
            <pc:docMk/>
            <pc:sldMk cId="3240899165" sldId="2212"/>
            <ac:spMk id="8" creationId="{66C86396-4F86-1732-0471-1555F40E1CD5}"/>
          </ac:spMkLst>
        </pc:spChg>
        <pc:spChg chg="mod">
          <ac:chgData name="Aruzhan Bakhazatkhanova" userId="c778e498-cb36-475a-b96c-6ba69ac00b7a" providerId="ADAL" clId="{6D92F819-21BB-460E-9396-57672536A5C8}" dt="2025-10-24T10:04:56.667" v="981" actId="1035"/>
          <ac:spMkLst>
            <pc:docMk/>
            <pc:sldMk cId="3240899165" sldId="2212"/>
            <ac:spMk id="9" creationId="{17CAA36C-DDBB-830A-C302-8A858D3E8B29}"/>
          </ac:spMkLst>
        </pc:spChg>
        <pc:spChg chg="add mod">
          <ac:chgData name="Aruzhan Bakhazatkhanova" userId="c778e498-cb36-475a-b96c-6ba69ac00b7a" providerId="ADAL" clId="{6D92F819-21BB-460E-9396-57672536A5C8}" dt="2025-10-24T10:05:04.181" v="987" actId="1035"/>
          <ac:spMkLst>
            <pc:docMk/>
            <pc:sldMk cId="3240899165" sldId="2212"/>
            <ac:spMk id="10" creationId="{13B539A0-7C72-4792-3FF6-24C07244E65C}"/>
          </ac:spMkLst>
        </pc:spChg>
        <pc:spChg chg="mod">
          <ac:chgData name="Aruzhan Bakhazatkhanova" userId="c778e498-cb36-475a-b96c-6ba69ac00b7a" providerId="ADAL" clId="{6D92F819-21BB-460E-9396-57672536A5C8}" dt="2025-10-24T10:07:21.100" v="1030" actId="1035"/>
          <ac:spMkLst>
            <pc:docMk/>
            <pc:sldMk cId="3240899165" sldId="2212"/>
            <ac:spMk id="30" creationId="{AB769B3F-1768-C55B-7217-2665EE0D7B72}"/>
          </ac:spMkLst>
        </pc:spChg>
        <pc:spChg chg="mod">
          <ac:chgData name="Aruzhan Bakhazatkhanova" userId="c778e498-cb36-475a-b96c-6ba69ac00b7a" providerId="ADAL" clId="{6D92F819-21BB-460E-9396-57672536A5C8}" dt="2025-10-24T10:06:45.047" v="1016" actId="14100"/>
          <ac:spMkLst>
            <pc:docMk/>
            <pc:sldMk cId="3240899165" sldId="2212"/>
            <ac:spMk id="36" creationId="{C7874395-7D1F-3C4A-741F-D96F0E0F4E78}"/>
          </ac:spMkLst>
        </pc:spChg>
        <pc:spChg chg="mod">
          <ac:chgData name="Aruzhan Bakhazatkhanova" userId="c778e498-cb36-475a-b96c-6ba69ac00b7a" providerId="ADAL" clId="{6D92F819-21BB-460E-9396-57672536A5C8}" dt="2025-10-24T10:10:15.210" v="1135" actId="14100"/>
          <ac:spMkLst>
            <pc:docMk/>
            <pc:sldMk cId="3240899165" sldId="2212"/>
            <ac:spMk id="59" creationId="{3DCB4B15-1ACC-F247-85BC-F1B791489BFC}"/>
          </ac:spMkLst>
        </pc:spChg>
        <pc:spChg chg="mod">
          <ac:chgData name="Aruzhan Bakhazatkhanova" userId="c778e498-cb36-475a-b96c-6ba69ac00b7a" providerId="ADAL" clId="{6D92F819-21BB-460E-9396-57672536A5C8}" dt="2025-10-24T10:09:46.228" v="1110" actId="1076"/>
          <ac:spMkLst>
            <pc:docMk/>
            <pc:sldMk cId="3240899165" sldId="2212"/>
            <ac:spMk id="65" creationId="{5C74FBF2-FA21-E3DD-0723-629205D5D17D}"/>
          </ac:spMkLst>
        </pc:spChg>
        <pc:spChg chg="mod">
          <ac:chgData name="Aruzhan Bakhazatkhanova" userId="c778e498-cb36-475a-b96c-6ba69ac00b7a" providerId="ADAL" clId="{6D92F819-21BB-460E-9396-57672536A5C8}" dt="2025-10-24T10:04:14.906" v="962"/>
          <ac:spMkLst>
            <pc:docMk/>
            <pc:sldMk cId="3240899165" sldId="2212"/>
            <ac:spMk id="68" creationId="{30E2F78A-EA61-40A0-1BB0-54FD07BA09E5}"/>
          </ac:spMkLst>
        </pc:spChg>
        <pc:grpChg chg="mod">
          <ac:chgData name="Aruzhan Bakhazatkhanova" userId="c778e498-cb36-475a-b96c-6ba69ac00b7a" providerId="ADAL" clId="{6D92F819-21BB-460E-9396-57672536A5C8}" dt="2025-10-24T10:09:20.788" v="1093" actId="14100"/>
          <ac:grpSpMkLst>
            <pc:docMk/>
            <pc:sldMk cId="3240899165" sldId="2212"/>
            <ac:grpSpMk id="3" creationId="{47BE0FC2-9038-0AA9-E934-E028406B70F8}"/>
          </ac:grpSpMkLst>
        </pc:grpChg>
        <pc:grpChg chg="mod">
          <ac:chgData name="Aruzhan Bakhazatkhanova" userId="c778e498-cb36-475a-b96c-6ba69ac00b7a" providerId="ADAL" clId="{6D92F819-21BB-460E-9396-57672536A5C8}" dt="2025-10-24T10:10:41.950" v="1158" actId="14100"/>
          <ac:grpSpMkLst>
            <pc:docMk/>
            <pc:sldMk cId="3240899165" sldId="2212"/>
            <ac:grpSpMk id="5" creationId="{A0A3788E-F9F4-B9C6-9123-4A85E815D028}"/>
          </ac:grpSpMkLst>
        </pc:grpChg>
        <pc:grpChg chg="mod">
          <ac:chgData name="Aruzhan Bakhazatkhanova" userId="c778e498-cb36-475a-b96c-6ba69ac00b7a" providerId="ADAL" clId="{6D92F819-21BB-460E-9396-57672536A5C8}" dt="2025-10-24T10:08:36.690" v="1071" actId="1035"/>
          <ac:grpSpMkLst>
            <pc:docMk/>
            <pc:sldMk cId="3240899165" sldId="2212"/>
            <ac:grpSpMk id="29" creationId="{ACA37DC7-92DF-DC26-A3E0-9E61263863D3}"/>
          </ac:grpSpMkLst>
        </pc:grpChg>
        <pc:grpChg chg="mod">
          <ac:chgData name="Aruzhan Bakhazatkhanova" userId="c778e498-cb36-475a-b96c-6ba69ac00b7a" providerId="ADAL" clId="{6D92F819-21BB-460E-9396-57672536A5C8}" dt="2025-10-24T10:08:36.690" v="1071" actId="1035"/>
          <ac:grpSpMkLst>
            <pc:docMk/>
            <pc:sldMk cId="3240899165" sldId="2212"/>
            <ac:grpSpMk id="31" creationId="{23C41BBA-E07C-54CB-D9C4-D3922981E61A}"/>
          </ac:grpSpMkLst>
        </pc:grpChg>
        <pc:grpChg chg="mod">
          <ac:chgData name="Aruzhan Bakhazatkhanova" userId="c778e498-cb36-475a-b96c-6ba69ac00b7a" providerId="ADAL" clId="{6D92F819-21BB-460E-9396-57672536A5C8}" dt="2025-10-24T10:08:36.690" v="1071" actId="1035"/>
          <ac:grpSpMkLst>
            <pc:docMk/>
            <pc:sldMk cId="3240899165" sldId="2212"/>
            <ac:grpSpMk id="32" creationId="{DAAE8C0F-A60D-4703-462B-55A8B31317BF}"/>
          </ac:grpSpMkLst>
        </pc:grpChg>
        <pc:grpChg chg="mod">
          <ac:chgData name="Aruzhan Bakhazatkhanova" userId="c778e498-cb36-475a-b96c-6ba69ac00b7a" providerId="ADAL" clId="{6D92F819-21BB-460E-9396-57672536A5C8}" dt="2025-10-24T10:08:16.724" v="1063" actId="14100"/>
          <ac:grpSpMkLst>
            <pc:docMk/>
            <pc:sldMk cId="3240899165" sldId="2212"/>
            <ac:grpSpMk id="49" creationId="{81BBEBCA-F24F-695D-B305-D0391C23459A}"/>
          </ac:grpSpMkLst>
        </pc:grpChg>
        <pc:grpChg chg="mod">
          <ac:chgData name="Aruzhan Bakhazatkhanova" userId="c778e498-cb36-475a-b96c-6ba69ac00b7a" providerId="ADAL" clId="{6D92F819-21BB-460E-9396-57672536A5C8}" dt="2025-10-24T10:09:33.717" v="1108" actId="1035"/>
          <ac:grpSpMkLst>
            <pc:docMk/>
            <pc:sldMk cId="3240899165" sldId="2212"/>
            <ac:grpSpMk id="50" creationId="{09292BE6-8DA5-1F4E-7004-5CBB0E8156F6}"/>
          </ac:grpSpMkLst>
        </pc:grpChg>
        <pc:grpChg chg="mod">
          <ac:chgData name="Aruzhan Bakhazatkhanova" userId="c778e498-cb36-475a-b96c-6ba69ac00b7a" providerId="ADAL" clId="{6D92F819-21BB-460E-9396-57672536A5C8}" dt="2025-10-24T10:10:29.364" v="1150" actId="14100"/>
          <ac:grpSpMkLst>
            <pc:docMk/>
            <pc:sldMk cId="3240899165" sldId="2212"/>
            <ac:grpSpMk id="51" creationId="{B71DCC4D-19FA-89D8-995C-58EE6CEFE24A}"/>
          </ac:grpSpMkLst>
        </pc:grpChg>
        <pc:grpChg chg="mod">
          <ac:chgData name="Aruzhan Bakhazatkhanova" userId="c778e498-cb36-475a-b96c-6ba69ac00b7a" providerId="ADAL" clId="{6D92F819-21BB-460E-9396-57672536A5C8}" dt="2025-10-24T10:08:16.724" v="1063" actId="14100"/>
          <ac:grpSpMkLst>
            <pc:docMk/>
            <pc:sldMk cId="3240899165" sldId="2212"/>
            <ac:grpSpMk id="52" creationId="{77DFB7CC-0F32-3A13-934B-7CA45F69ABD1}"/>
          </ac:grpSpMkLst>
        </pc:grpChg>
        <pc:grpChg chg="mod">
          <ac:chgData name="Aruzhan Bakhazatkhanova" userId="c778e498-cb36-475a-b96c-6ba69ac00b7a" providerId="ADAL" clId="{6D92F819-21BB-460E-9396-57672536A5C8}" dt="2025-10-24T10:08:16.724" v="1063" actId="14100"/>
          <ac:grpSpMkLst>
            <pc:docMk/>
            <pc:sldMk cId="3240899165" sldId="2212"/>
            <ac:grpSpMk id="53" creationId="{9795B623-E96E-6499-12D9-2F007609306B}"/>
          </ac:grpSpMkLst>
        </pc:grpChg>
        <pc:cxnChg chg="mod">
          <ac:chgData name="Aruzhan Bakhazatkhanova" userId="c778e498-cb36-475a-b96c-6ba69ac00b7a" providerId="ADAL" clId="{6D92F819-21BB-460E-9396-57672536A5C8}" dt="2025-10-24T10:08:16.724" v="1063" actId="14100"/>
          <ac:cxnSpMkLst>
            <pc:docMk/>
            <pc:sldMk cId="3240899165" sldId="2212"/>
            <ac:cxnSpMk id="67" creationId="{99946787-6442-0693-ADAF-601B9C7405B0}"/>
          </ac:cxnSpMkLst>
        </pc:cxnChg>
      </pc:sldChg>
      <pc:sldChg chg="addSp modSp mod">
        <pc:chgData name="Aruzhan Bakhazatkhanova" userId="c778e498-cb36-475a-b96c-6ba69ac00b7a" providerId="ADAL" clId="{6D92F819-21BB-460E-9396-57672536A5C8}" dt="2025-10-24T10:01:33.545" v="945" actId="14100"/>
        <pc:sldMkLst>
          <pc:docMk/>
          <pc:sldMk cId="2566058658" sldId="2262"/>
        </pc:sldMkLst>
        <pc:spChg chg="add mod">
          <ac:chgData name="Aruzhan Bakhazatkhanova" userId="c778e498-cb36-475a-b96c-6ba69ac00b7a" providerId="ADAL" clId="{6D92F819-21BB-460E-9396-57672536A5C8}" dt="2025-10-24T10:01:16.581" v="924" actId="1076"/>
          <ac:spMkLst>
            <pc:docMk/>
            <pc:sldMk cId="2566058658" sldId="2262"/>
            <ac:spMk id="2" creationId="{E6C7C317-EEE5-FC3A-F8DE-0F057EF2DB77}"/>
          </ac:spMkLst>
        </pc:spChg>
        <pc:spChg chg="mod">
          <ac:chgData name="Aruzhan Bakhazatkhanova" userId="c778e498-cb36-475a-b96c-6ba69ac00b7a" providerId="ADAL" clId="{6D92F819-21BB-460E-9396-57672536A5C8}" dt="2025-10-20T05:38:14.064" v="505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Aruzhan Bakhazatkhanova" userId="c778e498-cb36-475a-b96c-6ba69ac00b7a" providerId="ADAL" clId="{6D92F819-21BB-460E-9396-57672536A5C8}" dt="2025-10-20T05:38:21.756" v="508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Aruzhan Bakhazatkhanova" userId="c778e498-cb36-475a-b96c-6ba69ac00b7a" providerId="ADAL" clId="{6D92F819-21BB-460E-9396-57672536A5C8}" dt="2025-10-24T09:59:23.968" v="885" actId="1037"/>
          <ac:spMkLst>
            <pc:docMk/>
            <pc:sldMk cId="2566058658" sldId="2262"/>
            <ac:spMk id="22" creationId="{BCD317DC-3198-910C-FB39-B93825C6D85C}"/>
          </ac:spMkLst>
        </pc:spChg>
        <pc:spChg chg="mod">
          <ac:chgData name="Aruzhan Bakhazatkhanova" userId="c778e498-cb36-475a-b96c-6ba69ac00b7a" providerId="ADAL" clId="{6D92F819-21BB-460E-9396-57672536A5C8}" dt="2025-10-20T05:44:10.862" v="526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Aruzhan Bakhazatkhanova" userId="c778e498-cb36-475a-b96c-6ba69ac00b7a" providerId="ADAL" clId="{6D92F819-21BB-460E-9396-57672536A5C8}" dt="2025-10-24T10:01:33.545" v="945" actId="14100"/>
          <ac:spMkLst>
            <pc:docMk/>
            <pc:sldMk cId="2566058658" sldId="2262"/>
            <ac:spMk id="33" creationId="{1C65A31B-8978-87B3-D627-EB97298F8977}"/>
          </ac:spMkLst>
        </pc:spChg>
        <pc:spChg chg="mod">
          <ac:chgData name="Aruzhan Bakhazatkhanova" userId="c778e498-cb36-475a-b96c-6ba69ac00b7a" providerId="ADAL" clId="{6D92F819-21BB-460E-9396-57672536A5C8}" dt="2025-10-24T10:01:26.193" v="944" actId="1037"/>
          <ac:spMkLst>
            <pc:docMk/>
            <pc:sldMk cId="2566058658" sldId="2262"/>
            <ac:spMk id="56" creationId="{F7B2A1F5-887A-B13F-E658-C7942DBEF935}"/>
          </ac:spMkLst>
        </pc:spChg>
        <pc:spChg chg="mod">
          <ac:chgData name="Aruzhan Bakhazatkhanova" userId="c778e498-cb36-475a-b96c-6ba69ac00b7a" providerId="ADAL" clId="{6D92F819-21BB-460E-9396-57672536A5C8}" dt="2025-10-24T10:00:59.020" v="918" actId="14100"/>
          <ac:spMkLst>
            <pc:docMk/>
            <pc:sldMk cId="2566058658" sldId="2262"/>
            <ac:spMk id="102" creationId="{DB39DD21-13C5-474E-EFF0-530571E0720F}"/>
          </ac:spMkLst>
        </pc:spChg>
        <pc:spChg chg="mod">
          <ac:chgData name="Aruzhan Bakhazatkhanova" userId="c778e498-cb36-475a-b96c-6ba69ac00b7a" providerId="ADAL" clId="{6D92F819-21BB-460E-9396-57672536A5C8}" dt="2025-10-17T10:17:57.240" v="76" actId="20577"/>
          <ac:spMkLst>
            <pc:docMk/>
            <pc:sldMk cId="2566058658" sldId="2262"/>
            <ac:spMk id="104" creationId="{CCC16BF1-DD00-29F3-EE33-76383D551C50}"/>
          </ac:spMkLst>
        </pc:spChg>
        <pc:spChg chg="mod">
          <ac:chgData name="Aruzhan Bakhazatkhanova" userId="c778e498-cb36-475a-b96c-6ba69ac00b7a" providerId="ADAL" clId="{6D92F819-21BB-460E-9396-57672536A5C8}" dt="2025-10-21T05:44:37.609" v="746" actId="20577"/>
          <ac:spMkLst>
            <pc:docMk/>
            <pc:sldMk cId="2566058658" sldId="2262"/>
            <ac:spMk id="112" creationId="{653FC0E4-EC65-8CAE-496D-F055D8A395F6}"/>
          </ac:spMkLst>
        </pc:spChg>
        <pc:spChg chg="mod">
          <ac:chgData name="Aruzhan Bakhazatkhanova" userId="c778e498-cb36-475a-b96c-6ba69ac00b7a" providerId="ADAL" clId="{6D92F819-21BB-460E-9396-57672536A5C8}" dt="2025-10-21T05:44:43.405" v="748" actId="20577"/>
          <ac:spMkLst>
            <pc:docMk/>
            <pc:sldMk cId="2566058658" sldId="2262"/>
            <ac:spMk id="113" creationId="{A2512E1C-5A7A-86B4-AAB9-52FDD770F94F}"/>
          </ac:spMkLst>
        </pc:spChg>
        <pc:spChg chg="mod">
          <ac:chgData name="Aruzhan Bakhazatkhanova" userId="c778e498-cb36-475a-b96c-6ba69ac00b7a" providerId="ADAL" clId="{6D92F819-21BB-460E-9396-57672536A5C8}" dt="2025-10-21T05:44:56.058" v="754" actId="20577"/>
          <ac:spMkLst>
            <pc:docMk/>
            <pc:sldMk cId="2566058658" sldId="2262"/>
            <ac:spMk id="114" creationId="{064F4A2B-2325-1E37-AE44-FE882AE9034E}"/>
          </ac:spMkLst>
        </pc:spChg>
        <pc:spChg chg="mod">
          <ac:chgData name="Aruzhan Bakhazatkhanova" userId="c778e498-cb36-475a-b96c-6ba69ac00b7a" providerId="ADAL" clId="{6D92F819-21BB-460E-9396-57672536A5C8}" dt="2025-10-21T05:44:48.993" v="750" actId="20577"/>
          <ac:spMkLst>
            <pc:docMk/>
            <pc:sldMk cId="2566058658" sldId="2262"/>
            <ac:spMk id="115" creationId="{BC79DD0B-2AB0-0FBA-54D7-8D113D95239C}"/>
          </ac:spMkLst>
        </pc:spChg>
        <pc:spChg chg="mod">
          <ac:chgData name="Aruzhan Bakhazatkhanova" userId="c778e498-cb36-475a-b96c-6ba69ac00b7a" providerId="ADAL" clId="{6D92F819-21BB-460E-9396-57672536A5C8}" dt="2025-10-21T05:44:52.305" v="752" actId="20577"/>
          <ac:spMkLst>
            <pc:docMk/>
            <pc:sldMk cId="2566058658" sldId="2262"/>
            <ac:spMk id="116" creationId="{7D023E70-35C9-30A7-88B4-CE7189FEF20C}"/>
          </ac:spMkLst>
        </pc:spChg>
        <pc:spChg chg="mod">
          <ac:chgData name="Aruzhan Bakhazatkhanova" userId="c778e498-cb36-475a-b96c-6ba69ac00b7a" providerId="ADAL" clId="{6D92F819-21BB-460E-9396-57672536A5C8}" dt="2025-10-21T05:44:26.191" v="743" actId="20577"/>
          <ac:spMkLst>
            <pc:docMk/>
            <pc:sldMk cId="2566058658" sldId="2262"/>
            <ac:spMk id="117" creationId="{C4E4EF16-820E-E9B6-4023-38DE3F8E2521}"/>
          </ac:spMkLst>
        </pc:spChg>
        <pc:spChg chg="mod">
          <ac:chgData name="Aruzhan Bakhazatkhanova" userId="c778e498-cb36-475a-b96c-6ba69ac00b7a" providerId="ADAL" clId="{6D92F819-21BB-460E-9396-57672536A5C8}" dt="2025-10-20T05:38:35.317" v="514" actId="1038"/>
          <ac:spMkLst>
            <pc:docMk/>
            <pc:sldMk cId="2566058658" sldId="2262"/>
            <ac:spMk id="134" creationId="{02976E01-476B-25CC-0C13-B4219E918EC3}"/>
          </ac:spMkLst>
        </pc:spChg>
        <pc:graphicFrameChg chg="mod">
          <ac:chgData name="Aruzhan Bakhazatkhanova" userId="c778e498-cb36-475a-b96c-6ba69ac00b7a" providerId="ADAL" clId="{6D92F819-21BB-460E-9396-57672536A5C8}" dt="2025-10-24T10:00:55.728" v="917" actId="14100"/>
          <ac:graphicFrameMkLst>
            <pc:docMk/>
            <pc:sldMk cId="2566058658" sldId="2262"/>
            <ac:graphicFrameMk id="108" creationId="{6B5DD93E-563D-7215-4E18-B285AA8250CE}"/>
          </ac:graphicFrameMkLst>
        </pc:graphicFrameChg>
      </pc:sldChg>
      <pc:sldChg chg="addSp delSp modSp mod">
        <pc:chgData name="Aruzhan Bakhazatkhanova" userId="c778e498-cb36-475a-b96c-6ba69ac00b7a" providerId="ADAL" clId="{6D92F819-21BB-460E-9396-57672536A5C8}" dt="2025-10-24T09:58:12.473" v="883"/>
        <pc:sldMkLst>
          <pc:docMk/>
          <pc:sldMk cId="1261594426" sldId="2272"/>
        </pc:sldMkLst>
        <pc:spChg chg="mod">
          <ac:chgData name="Aruzhan Bakhazatkhanova" userId="c778e498-cb36-475a-b96c-6ba69ac00b7a" providerId="ADAL" clId="{6D92F819-21BB-460E-9396-57672536A5C8}" dt="2025-10-22T07:15:44.604" v="760" actId="20577"/>
          <ac:spMkLst>
            <pc:docMk/>
            <pc:sldMk cId="1261594426" sldId="2272"/>
            <ac:spMk id="3" creationId="{7705EA0B-F57C-D930-CE44-0D6D4D4333A5}"/>
          </ac:spMkLst>
        </pc:spChg>
        <pc:spChg chg="add mod">
          <ac:chgData name="Aruzhan Bakhazatkhanova" userId="c778e498-cb36-475a-b96c-6ba69ac00b7a" providerId="ADAL" clId="{6D92F819-21BB-460E-9396-57672536A5C8}" dt="2025-10-22T07:15:30.061" v="756"/>
          <ac:spMkLst>
            <pc:docMk/>
            <pc:sldMk cId="1261594426" sldId="2272"/>
            <ac:spMk id="4" creationId="{CAA494B0-1E3F-BF62-718A-22FA83079B84}"/>
          </ac:spMkLst>
        </pc:spChg>
        <pc:spChg chg="add mod">
          <ac:chgData name="Aruzhan Bakhazatkhanova" userId="c778e498-cb36-475a-b96c-6ba69ac00b7a" providerId="ADAL" clId="{6D92F819-21BB-460E-9396-57672536A5C8}" dt="2025-10-22T07:15:30.061" v="756"/>
          <ac:spMkLst>
            <pc:docMk/>
            <pc:sldMk cId="1261594426" sldId="2272"/>
            <ac:spMk id="8" creationId="{53B4A0A9-97DB-36D8-44BD-AE8A82810CBF}"/>
          </ac:spMkLst>
        </pc:spChg>
        <pc:spChg chg="add del mod">
          <ac:chgData name="Aruzhan Bakhazatkhanova" userId="c778e498-cb36-475a-b96c-6ba69ac00b7a" providerId="ADAL" clId="{6D92F819-21BB-460E-9396-57672536A5C8}" dt="2025-10-24T09:58:07.334" v="882" actId="478"/>
          <ac:spMkLst>
            <pc:docMk/>
            <pc:sldMk cId="1261594426" sldId="2272"/>
            <ac:spMk id="13" creationId="{C38DA53E-899D-ED8E-3DB5-E91510BB5A12}"/>
          </ac:spMkLst>
        </pc:spChg>
        <pc:spChg chg="add mod">
          <ac:chgData name="Aruzhan Bakhazatkhanova" userId="c778e498-cb36-475a-b96c-6ba69ac00b7a" providerId="ADAL" clId="{6D92F819-21BB-460E-9396-57672536A5C8}" dt="2025-10-22T07:15:30.061" v="756"/>
          <ac:spMkLst>
            <pc:docMk/>
            <pc:sldMk cId="1261594426" sldId="2272"/>
            <ac:spMk id="23" creationId="{77D17D8A-BBE1-C325-04F2-70454D85C6ED}"/>
          </ac:spMkLst>
        </pc:spChg>
        <pc:spChg chg="add mod">
          <ac:chgData name="Aruzhan Bakhazatkhanova" userId="c778e498-cb36-475a-b96c-6ba69ac00b7a" providerId="ADAL" clId="{6D92F819-21BB-460E-9396-57672536A5C8}" dt="2025-10-22T07:15:30.061" v="756"/>
          <ac:spMkLst>
            <pc:docMk/>
            <pc:sldMk cId="1261594426" sldId="2272"/>
            <ac:spMk id="30" creationId="{34E2FD67-4B70-8E8A-09FF-51AE9CC1A446}"/>
          </ac:spMkLst>
        </pc:spChg>
        <pc:spChg chg="add mod">
          <ac:chgData name="Aruzhan Bakhazatkhanova" userId="c778e498-cb36-475a-b96c-6ba69ac00b7a" providerId="ADAL" clId="{6D92F819-21BB-460E-9396-57672536A5C8}" dt="2025-10-22T07:15:30.061" v="756"/>
          <ac:spMkLst>
            <pc:docMk/>
            <pc:sldMk cId="1261594426" sldId="2272"/>
            <ac:spMk id="31" creationId="{C2A7CDB3-F4B2-F6F2-1170-7B3A79A11918}"/>
          </ac:spMkLst>
        </pc:spChg>
        <pc:spChg chg="mod">
          <ac:chgData name="Aruzhan Bakhazatkhanova" userId="c778e498-cb36-475a-b96c-6ba69ac00b7a" providerId="ADAL" clId="{6D92F819-21BB-460E-9396-57672536A5C8}" dt="2025-10-22T07:15:51.875" v="764" actId="20577"/>
          <ac:spMkLst>
            <pc:docMk/>
            <pc:sldMk cId="1261594426" sldId="2272"/>
            <ac:spMk id="32" creationId="{577C3A94-7125-F173-7C79-4EC297D5A6BD}"/>
          </ac:spMkLst>
        </pc:spChg>
        <pc:spChg chg="mod">
          <ac:chgData name="Aruzhan Bakhazatkhanova" userId="c778e498-cb36-475a-b96c-6ba69ac00b7a" providerId="ADAL" clId="{6D92F819-21BB-460E-9396-57672536A5C8}" dt="2025-10-22T07:15:55.273" v="766" actId="20577"/>
          <ac:spMkLst>
            <pc:docMk/>
            <pc:sldMk cId="1261594426" sldId="2272"/>
            <ac:spMk id="43" creationId="{A8A5B3A6-1C56-455E-30B8-3669D764D7DC}"/>
          </ac:spMkLst>
        </pc:spChg>
        <pc:spChg chg="add mod">
          <ac:chgData name="Aruzhan Bakhazatkhanova" userId="c778e498-cb36-475a-b96c-6ba69ac00b7a" providerId="ADAL" clId="{6D92F819-21BB-460E-9396-57672536A5C8}" dt="2025-10-22T07:15:57.995" v="768" actId="20577"/>
          <ac:spMkLst>
            <pc:docMk/>
            <pc:sldMk cId="1261594426" sldId="2272"/>
            <ac:spMk id="45" creationId="{C32C821B-8F1D-E947-9331-ECD0FFD76024}"/>
          </ac:spMkLst>
        </pc:spChg>
        <pc:spChg chg="mod">
          <ac:chgData name="Aruzhan Bakhazatkhanova" userId="c778e498-cb36-475a-b96c-6ba69ac00b7a" providerId="ADAL" clId="{6D92F819-21BB-460E-9396-57672536A5C8}" dt="2025-10-22T07:16:02.835" v="770" actId="20577"/>
          <ac:spMkLst>
            <pc:docMk/>
            <pc:sldMk cId="1261594426" sldId="2272"/>
            <ac:spMk id="48" creationId="{438BC700-684D-B01A-6331-95AD836B12A4}"/>
          </ac:spMkLst>
        </pc:spChg>
        <pc:spChg chg="add mod">
          <ac:chgData name="Aruzhan Bakhazatkhanova" userId="c778e498-cb36-475a-b96c-6ba69ac00b7a" providerId="ADAL" clId="{6D92F819-21BB-460E-9396-57672536A5C8}" dt="2025-10-22T07:16:10.771" v="776" actId="20577"/>
          <ac:spMkLst>
            <pc:docMk/>
            <pc:sldMk cId="1261594426" sldId="2272"/>
            <ac:spMk id="49" creationId="{94573380-D50C-5AEB-9E55-7B1FFA6D1F83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50" creationId="{A5D19242-425D-D85D-AB6F-65F9607008CD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51" creationId="{B7725B10-A017-0A55-66A1-0F5CEA4D2AD7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52" creationId="{98B063DE-5EB6-BEAA-3D4D-B5A50E2ADAC6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54" creationId="{A086EE4A-4DD4-78B6-07B0-0F58890071B0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55" creationId="{D3A5B690-542F-CD8C-7F76-AB8B4C2765A6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58" creationId="{6F370EDE-165D-DCEF-8CAB-52A55EA57277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62" creationId="{B4AA3AAD-2F9C-5752-6DEB-5AF248C4E466}"/>
          </ac:spMkLst>
        </pc:spChg>
        <pc:spChg chg="add mod">
          <ac:chgData name="Aruzhan Bakhazatkhanova" userId="c778e498-cb36-475a-b96c-6ba69ac00b7a" providerId="ADAL" clId="{6D92F819-21BB-460E-9396-57672536A5C8}" dt="2025-10-20T05:04:07.647" v="475" actId="20577"/>
          <ac:spMkLst>
            <pc:docMk/>
            <pc:sldMk cId="1261594426" sldId="2272"/>
            <ac:spMk id="65" creationId="{4690D4C5-91BF-8791-5110-1D84BFF0522C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67" creationId="{10213176-0BD5-BCC3-DA1B-131E4C6BC2EF}"/>
          </ac:spMkLst>
        </pc:spChg>
        <pc:spChg chg="add mod">
          <ac:chgData name="Aruzhan Bakhazatkhanova" userId="c778e498-cb36-475a-b96c-6ba69ac00b7a" providerId="ADAL" clId="{6D92F819-21BB-460E-9396-57672536A5C8}" dt="2025-10-20T05:03:35.618" v="466"/>
          <ac:spMkLst>
            <pc:docMk/>
            <pc:sldMk cId="1261594426" sldId="2272"/>
            <ac:spMk id="68" creationId="{2132CD1D-5CED-5C48-AB46-58924E2D32F9}"/>
          </ac:spMkLst>
        </pc:spChg>
        <pc:spChg chg="mod">
          <ac:chgData name="Aruzhan Bakhazatkhanova" userId="c778e498-cb36-475a-b96c-6ba69ac00b7a" providerId="ADAL" clId="{6D92F819-21BB-460E-9396-57672536A5C8}" dt="2025-10-22T07:16:14.354" v="778" actId="20577"/>
          <ac:spMkLst>
            <pc:docMk/>
            <pc:sldMk cId="1261594426" sldId="2272"/>
            <ac:spMk id="71" creationId="{BF1639DC-4660-D98B-0085-32F6084FE17B}"/>
          </ac:spMkLst>
        </pc:spChg>
        <pc:spChg chg="mod">
          <ac:chgData name="Aruzhan Bakhazatkhanova" userId="c778e498-cb36-475a-b96c-6ba69ac00b7a" providerId="ADAL" clId="{6D92F819-21BB-460E-9396-57672536A5C8}" dt="2025-10-22T07:16:19.106" v="780" actId="20577"/>
          <ac:spMkLst>
            <pc:docMk/>
            <pc:sldMk cId="1261594426" sldId="2272"/>
            <ac:spMk id="72" creationId="{EB6BBBFC-0361-D059-114C-E0A76B093FE2}"/>
          </ac:spMkLst>
        </pc:spChg>
        <pc:spChg chg="add mod">
          <ac:chgData name="Aruzhan Bakhazatkhanova" userId="c778e498-cb36-475a-b96c-6ba69ac00b7a" providerId="ADAL" clId="{6D92F819-21BB-460E-9396-57672536A5C8}" dt="2025-10-22T07:16:22.450" v="782" actId="20577"/>
          <ac:spMkLst>
            <pc:docMk/>
            <pc:sldMk cId="1261594426" sldId="2272"/>
            <ac:spMk id="73" creationId="{02BA9D71-17E3-0ECA-4A47-2B0FF694DC11}"/>
          </ac:spMkLst>
        </pc:spChg>
        <pc:spChg chg="mod">
          <ac:chgData name="Aruzhan Bakhazatkhanova" userId="c778e498-cb36-475a-b96c-6ba69ac00b7a" providerId="ADAL" clId="{6D92F819-21BB-460E-9396-57672536A5C8}" dt="2025-10-22T07:16:26.955" v="784" actId="20577"/>
          <ac:spMkLst>
            <pc:docMk/>
            <pc:sldMk cId="1261594426" sldId="2272"/>
            <ac:spMk id="74" creationId="{B176F05C-C92C-E44A-5CA9-41DC331AE4F7}"/>
          </ac:spMkLst>
        </pc:spChg>
        <pc:spChg chg="mod">
          <ac:chgData name="Aruzhan Bakhazatkhanova" userId="c778e498-cb36-475a-b96c-6ba69ac00b7a" providerId="ADAL" clId="{6D92F819-21BB-460E-9396-57672536A5C8}" dt="2025-10-22T07:16:31.203" v="786" actId="20577"/>
          <ac:spMkLst>
            <pc:docMk/>
            <pc:sldMk cId="1261594426" sldId="2272"/>
            <ac:spMk id="75" creationId="{8780FE26-C49B-4579-E1E9-89F984B4AFEE}"/>
          </ac:spMkLst>
        </pc:spChg>
        <pc:spChg chg="add mod">
          <ac:chgData name="Aruzhan Bakhazatkhanova" userId="c778e498-cb36-475a-b96c-6ba69ac00b7a" providerId="ADAL" clId="{6D92F819-21BB-460E-9396-57672536A5C8}" dt="2025-10-22T07:16:34.979" v="788" actId="20577"/>
          <ac:spMkLst>
            <pc:docMk/>
            <pc:sldMk cId="1261594426" sldId="2272"/>
            <ac:spMk id="77" creationId="{CE8B2799-71E9-C494-4543-7E8A969DF930}"/>
          </ac:spMkLst>
        </pc:spChg>
        <pc:spChg chg="add mod">
          <ac:chgData name="Aruzhan Bakhazatkhanova" userId="c778e498-cb36-475a-b96c-6ba69ac00b7a" providerId="ADAL" clId="{6D92F819-21BB-460E-9396-57672536A5C8}" dt="2025-10-22T07:15:30.061" v="756"/>
          <ac:spMkLst>
            <pc:docMk/>
            <pc:sldMk cId="1261594426" sldId="2272"/>
            <ac:spMk id="78" creationId="{600987F2-88C1-4F79-B0D9-54227F822E27}"/>
          </ac:spMkLst>
        </pc:spChg>
        <pc:spChg chg="mod">
          <ac:chgData name="Aruzhan Bakhazatkhanova" userId="c778e498-cb36-475a-b96c-6ba69ac00b7a" providerId="ADAL" clId="{6D92F819-21BB-460E-9396-57672536A5C8}" dt="2025-10-22T07:15:48.135" v="762" actId="20577"/>
          <ac:spMkLst>
            <pc:docMk/>
            <pc:sldMk cId="1261594426" sldId="2272"/>
            <ac:spMk id="79" creationId="{886F426C-3259-AC08-035A-23C66E1CE43E}"/>
          </ac:spMkLst>
        </pc:spChg>
        <pc:spChg chg="mod">
          <ac:chgData name="Aruzhan Bakhazatkhanova" userId="c778e498-cb36-475a-b96c-6ba69ac00b7a" providerId="ADAL" clId="{6D92F819-21BB-460E-9396-57672536A5C8}" dt="2025-10-24T09:57:04.058" v="879" actId="1076"/>
          <ac:spMkLst>
            <pc:docMk/>
            <pc:sldMk cId="1261594426" sldId="2272"/>
            <ac:spMk id="80" creationId="{D0BB913E-0975-CF49-6F4B-AFE33584F8D0}"/>
          </ac:spMkLst>
        </pc:spChg>
        <pc:spChg chg="mod">
          <ac:chgData name="Aruzhan Bakhazatkhanova" userId="c778e498-cb36-475a-b96c-6ba69ac00b7a" providerId="ADAL" clId="{6D92F819-21BB-460E-9396-57672536A5C8}" dt="2025-10-20T04:56:53.287" v="451" actId="20577"/>
          <ac:spMkLst>
            <pc:docMk/>
            <pc:sldMk cId="1261594426" sldId="2272"/>
            <ac:spMk id="86" creationId="{9EF1E2AC-B7F0-9755-A337-6F10DC256FDC}"/>
          </ac:spMkLst>
        </pc:spChg>
        <pc:spChg chg="mod">
          <ac:chgData name="Aruzhan Bakhazatkhanova" userId="c778e498-cb36-475a-b96c-6ba69ac00b7a" providerId="ADAL" clId="{6D92F819-21BB-460E-9396-57672536A5C8}" dt="2025-10-24T09:58:12.473" v="883"/>
          <ac:spMkLst>
            <pc:docMk/>
            <pc:sldMk cId="1261594426" sldId="2272"/>
            <ac:spMk id="114" creationId="{94A33B26-7243-4A11-091F-CD34CBE69720}"/>
          </ac:spMkLst>
        </pc:spChg>
        <pc:spChg chg="mod">
          <ac:chgData name="Aruzhan Bakhazatkhanova" userId="c778e498-cb36-475a-b96c-6ba69ac00b7a" providerId="ADAL" clId="{6D92F819-21BB-460E-9396-57672536A5C8}" dt="2025-10-23T11:23:39.932" v="828" actId="20577"/>
          <ac:spMkLst>
            <pc:docMk/>
            <pc:sldMk cId="1261594426" sldId="2272"/>
            <ac:spMk id="160" creationId="{B78BAF26-5A7E-4238-6466-75EED7ED7C42}"/>
          </ac:spMkLst>
        </pc:spChg>
        <pc:graphicFrameChg chg="add mod">
          <ac:chgData name="Aruzhan Bakhazatkhanova" userId="c778e498-cb36-475a-b96c-6ba69ac00b7a" providerId="ADAL" clId="{6D92F819-21BB-460E-9396-57672536A5C8}" dt="2025-10-23T11:23:29.065" v="821"/>
          <ac:graphicFrameMkLst>
            <pc:docMk/>
            <pc:sldMk cId="1261594426" sldId="2272"/>
            <ac:graphicFrameMk id="70" creationId="{0AD14A68-9F99-D996-04F9-97768DFA7613}"/>
          </ac:graphicFrameMkLst>
        </pc:graphicFrameChg>
      </pc:sldChg>
      <pc:sldChg chg="delSp del mod">
        <pc:chgData name="Aruzhan Bakhazatkhanova" userId="c778e498-cb36-475a-b96c-6ba69ac00b7a" providerId="ADAL" clId="{6D92F819-21BB-460E-9396-57672536A5C8}" dt="2025-10-17T10:10:54.602" v="57" actId="47"/>
        <pc:sldMkLst>
          <pc:docMk/>
          <pc:sldMk cId="3326975222" sldId="2273"/>
        </pc:sldMkLst>
      </pc:sldChg>
      <pc:sldChg chg="delSp modSp mod">
        <pc:chgData name="Aruzhan Bakhazatkhanova" userId="c778e498-cb36-475a-b96c-6ba69ac00b7a" providerId="ADAL" clId="{6D92F819-21BB-460E-9396-57672536A5C8}" dt="2025-10-23T11:20:30.417" v="814" actId="27918"/>
        <pc:sldMkLst>
          <pc:docMk/>
          <pc:sldMk cId="2278701123" sldId="2277"/>
        </pc:sldMkLst>
        <pc:spChg chg="mod">
          <ac:chgData name="Aruzhan Bakhazatkhanova" userId="c778e498-cb36-475a-b96c-6ba69ac00b7a" providerId="ADAL" clId="{6D92F819-21BB-460E-9396-57672536A5C8}" dt="2025-10-23T11:19:29.463" v="805" actId="1035"/>
          <ac:spMkLst>
            <pc:docMk/>
            <pc:sldMk cId="2278701123" sldId="2277"/>
            <ac:spMk id="4" creationId="{D9A7DC92-E6E0-F85D-D643-D022689C0378}"/>
          </ac:spMkLst>
        </pc:spChg>
        <pc:spChg chg="del mod">
          <ac:chgData name="Aruzhan Bakhazatkhanova" userId="c778e498-cb36-475a-b96c-6ba69ac00b7a" providerId="ADAL" clId="{6D92F819-21BB-460E-9396-57672536A5C8}" dt="2025-10-23T11:19:23.994" v="789" actId="478"/>
          <ac:spMkLst>
            <pc:docMk/>
            <pc:sldMk cId="2278701123" sldId="2277"/>
            <ac:spMk id="13" creationId="{4B231C19-6581-F296-4C38-7C9083947714}"/>
          </ac:spMkLst>
        </pc:spChg>
        <pc:spChg chg="mod">
          <ac:chgData name="Aruzhan Bakhazatkhanova" userId="c778e498-cb36-475a-b96c-6ba69ac00b7a" providerId="ADAL" clId="{6D92F819-21BB-460E-9396-57672536A5C8}" dt="2025-10-23T11:19:36.162" v="806" actId="1076"/>
          <ac:spMkLst>
            <pc:docMk/>
            <pc:sldMk cId="2278701123" sldId="2277"/>
            <ac:spMk id="36" creationId="{03560DEE-38F3-4857-D339-93070E0C0A9F}"/>
          </ac:spMkLst>
        </pc:spChg>
        <pc:graphicFrameChg chg="mod">
          <ac:chgData name="Aruzhan Bakhazatkhanova" userId="c778e498-cb36-475a-b96c-6ba69ac00b7a" providerId="ADAL" clId="{6D92F819-21BB-460E-9396-57672536A5C8}" dt="2025-10-20T05:05:00.662" v="482"/>
          <ac:graphicFrameMkLst>
            <pc:docMk/>
            <pc:sldMk cId="2278701123" sldId="2277"/>
            <ac:graphicFrameMk id="10" creationId="{D461547B-F320-83E2-828D-91EC8BEA31A7}"/>
          </ac:graphicFrameMkLst>
        </pc:graphicFrameChg>
      </pc:sldChg>
      <pc:sldChg chg="modSp mod">
        <pc:chgData name="Aruzhan Bakhazatkhanova" userId="c778e498-cb36-475a-b96c-6ba69ac00b7a" providerId="ADAL" clId="{6D92F819-21BB-460E-9396-57672536A5C8}" dt="2025-10-17T06:33:59.099" v="36" actId="20577"/>
        <pc:sldMkLst>
          <pc:docMk/>
          <pc:sldMk cId="2651520157" sldId="2278"/>
        </pc:sldMkLst>
        <pc:spChg chg="mod">
          <ac:chgData name="Aruzhan Bakhazatkhanova" userId="c778e498-cb36-475a-b96c-6ba69ac00b7a" providerId="ADAL" clId="{6D92F819-21BB-460E-9396-57672536A5C8}" dt="2025-10-17T06:31:03.701" v="12" actId="20577"/>
          <ac:spMkLst>
            <pc:docMk/>
            <pc:sldMk cId="2651520157" sldId="2278"/>
            <ac:spMk id="165" creationId="{00000000-0000-0000-0000-000000000000}"/>
          </ac:spMkLst>
        </pc:spChg>
        <pc:spChg chg="mod">
          <ac:chgData name="Aruzhan Bakhazatkhanova" userId="c778e498-cb36-475a-b96c-6ba69ac00b7a" providerId="ADAL" clId="{6D92F819-21BB-460E-9396-57672536A5C8}" dt="2025-10-17T06:33:59.099" v="36" actId="20577"/>
          <ac:spMkLst>
            <pc:docMk/>
            <pc:sldMk cId="2651520157" sldId="2278"/>
            <ac:spMk id="167" creationId="{00000000-0000-0000-0000-000000000000}"/>
          </ac:spMkLst>
        </pc:spChg>
      </pc:sldChg>
      <pc:sldChg chg="addSp delSp modSp mod">
        <pc:chgData name="Aruzhan Bakhazatkhanova" userId="c778e498-cb36-475a-b96c-6ba69ac00b7a" providerId="ADAL" clId="{6D92F819-21BB-460E-9396-57672536A5C8}" dt="2025-10-24T10:23:32.604" v="1248" actId="1036"/>
        <pc:sldMkLst>
          <pc:docMk/>
          <pc:sldMk cId="3383460671" sldId="2280"/>
        </pc:sldMkLst>
        <pc:spChg chg="mod">
          <ac:chgData name="Aruzhan Bakhazatkhanova" userId="c778e498-cb36-475a-b96c-6ba69ac00b7a" providerId="ADAL" clId="{6D92F819-21BB-460E-9396-57672536A5C8}" dt="2025-10-24T09:54:06.776" v="878" actId="20577"/>
          <ac:spMkLst>
            <pc:docMk/>
            <pc:sldMk cId="3383460671" sldId="2280"/>
            <ac:spMk id="2" creationId="{BD2CB8FC-6BA7-8072-C621-DF5C7DA19DDD}"/>
          </ac:spMkLst>
        </pc:spChg>
        <pc:spChg chg="mod">
          <ac:chgData name="Aruzhan Bakhazatkhanova" userId="c778e498-cb36-475a-b96c-6ba69ac00b7a" providerId="ADAL" clId="{6D92F819-21BB-460E-9396-57672536A5C8}" dt="2025-10-24T09:51:29.706" v="855" actId="1036"/>
          <ac:spMkLst>
            <pc:docMk/>
            <pc:sldMk cId="3383460671" sldId="2280"/>
            <ac:spMk id="3" creationId="{E9DFF584-D1B2-AFC2-DDE8-3994F58905ED}"/>
          </ac:spMkLst>
        </pc:spChg>
        <pc:spChg chg="mod">
          <ac:chgData name="Aruzhan Bakhazatkhanova" userId="c778e498-cb36-475a-b96c-6ba69ac00b7a" providerId="ADAL" clId="{6D92F819-21BB-460E-9396-57672536A5C8}" dt="2025-10-17T10:56:42.410" v="176" actId="20577"/>
          <ac:spMkLst>
            <pc:docMk/>
            <pc:sldMk cId="3383460671" sldId="2280"/>
            <ac:spMk id="7" creationId="{6B0C1266-E225-8ED2-C006-32B899C9D767}"/>
          </ac:spMkLst>
        </pc:spChg>
        <pc:spChg chg="add del mod">
          <ac:chgData name="Aruzhan Bakhazatkhanova" userId="c778e498-cb36-475a-b96c-6ba69ac00b7a" providerId="ADAL" clId="{6D92F819-21BB-460E-9396-57672536A5C8}" dt="2025-10-24T09:51:17.406" v="829" actId="478"/>
          <ac:spMkLst>
            <pc:docMk/>
            <pc:sldMk cId="3383460671" sldId="2280"/>
            <ac:spMk id="10" creationId="{85F8921B-F3DC-9172-CA34-4A7C44F59870}"/>
          </ac:spMkLst>
        </pc:spChg>
        <pc:spChg chg="mod">
          <ac:chgData name="Aruzhan Bakhazatkhanova" userId="c778e498-cb36-475a-b96c-6ba69ac00b7a" providerId="ADAL" clId="{6D92F819-21BB-460E-9396-57672536A5C8}" dt="2025-10-17T10:58:35.495" v="235" actId="20577"/>
          <ac:spMkLst>
            <pc:docMk/>
            <pc:sldMk cId="3383460671" sldId="2280"/>
            <ac:spMk id="11" creationId="{E774CA19-2CB6-AE17-7394-4BCE304B1768}"/>
          </ac:spMkLst>
        </pc:spChg>
        <pc:spChg chg="mod">
          <ac:chgData name="Aruzhan Bakhazatkhanova" userId="c778e498-cb36-475a-b96c-6ba69ac00b7a" providerId="ADAL" clId="{6D92F819-21BB-460E-9396-57672536A5C8}" dt="2025-10-17T10:57:33.934" v="197" actId="20577"/>
          <ac:spMkLst>
            <pc:docMk/>
            <pc:sldMk cId="3383460671" sldId="2280"/>
            <ac:spMk id="14" creationId="{B0F8E264-AD05-6CF2-FD48-3938FDD3FEF5}"/>
          </ac:spMkLst>
        </pc:spChg>
        <pc:spChg chg="mod">
          <ac:chgData name="Aruzhan Bakhazatkhanova" userId="c778e498-cb36-475a-b96c-6ba69ac00b7a" providerId="ADAL" clId="{6D92F819-21BB-460E-9396-57672536A5C8}" dt="2025-10-17T10:57:21.045" v="189" actId="20577"/>
          <ac:spMkLst>
            <pc:docMk/>
            <pc:sldMk cId="3383460671" sldId="2280"/>
            <ac:spMk id="16" creationId="{5BD0917C-71B8-7C12-E43C-A5A96C56CEB4}"/>
          </ac:spMkLst>
        </pc:spChg>
        <pc:spChg chg="mod">
          <ac:chgData name="Aruzhan Bakhazatkhanova" userId="c778e498-cb36-475a-b96c-6ba69ac00b7a" providerId="ADAL" clId="{6D92F819-21BB-460E-9396-57672536A5C8}" dt="2025-10-20T09:19:57.299" v="733" actId="20577"/>
          <ac:spMkLst>
            <pc:docMk/>
            <pc:sldMk cId="3383460671" sldId="2280"/>
            <ac:spMk id="20" creationId="{2C50E6EE-6390-804F-445C-744F3681E6AE}"/>
          </ac:spMkLst>
        </pc:spChg>
        <pc:spChg chg="mod">
          <ac:chgData name="Aruzhan Bakhazatkhanova" userId="c778e498-cb36-475a-b96c-6ba69ac00b7a" providerId="ADAL" clId="{6D92F819-21BB-460E-9396-57672536A5C8}" dt="2025-10-17T10:58:29.743" v="233" actId="20577"/>
          <ac:spMkLst>
            <pc:docMk/>
            <pc:sldMk cId="3383460671" sldId="2280"/>
            <ac:spMk id="21" creationId="{A702BFDA-01C8-BC15-39E0-C52E5EA1E45D}"/>
          </ac:spMkLst>
        </pc:spChg>
        <pc:spChg chg="mod">
          <ac:chgData name="Aruzhan Bakhazatkhanova" userId="c778e498-cb36-475a-b96c-6ba69ac00b7a" providerId="ADAL" clId="{6D92F819-21BB-460E-9396-57672536A5C8}" dt="2025-10-17T10:58:53.692" v="246" actId="20577"/>
          <ac:spMkLst>
            <pc:docMk/>
            <pc:sldMk cId="3383460671" sldId="2280"/>
            <ac:spMk id="22" creationId="{B8417931-911F-7270-5603-3DBE3A72F16E}"/>
          </ac:spMkLst>
        </pc:spChg>
        <pc:spChg chg="mod">
          <ac:chgData name="Aruzhan Bakhazatkhanova" userId="c778e498-cb36-475a-b96c-6ba69ac00b7a" providerId="ADAL" clId="{6D92F819-21BB-460E-9396-57672536A5C8}" dt="2025-10-17T10:56:01.313" v="168" actId="20577"/>
          <ac:spMkLst>
            <pc:docMk/>
            <pc:sldMk cId="3383460671" sldId="2280"/>
            <ac:spMk id="25" creationId="{86D2DA82-8E3B-4E18-CBFC-74F182F2D293}"/>
          </ac:spMkLst>
        </pc:spChg>
        <pc:spChg chg="mod">
          <ac:chgData name="Aruzhan Bakhazatkhanova" userId="c778e498-cb36-475a-b96c-6ba69ac00b7a" providerId="ADAL" clId="{6D92F819-21BB-460E-9396-57672536A5C8}" dt="2025-10-17T10:53:06.757" v="115" actId="20577"/>
          <ac:spMkLst>
            <pc:docMk/>
            <pc:sldMk cId="3383460671" sldId="2280"/>
            <ac:spMk id="26" creationId="{28139A96-E5E4-D85E-BEF9-4973CC52FA88}"/>
          </ac:spMkLst>
        </pc:spChg>
        <pc:spChg chg="mod">
          <ac:chgData name="Aruzhan Bakhazatkhanova" userId="c778e498-cb36-475a-b96c-6ba69ac00b7a" providerId="ADAL" clId="{6D92F819-21BB-460E-9396-57672536A5C8}" dt="2025-10-24T09:51:22.123" v="841" actId="1035"/>
          <ac:spMkLst>
            <pc:docMk/>
            <pc:sldMk cId="3383460671" sldId="2280"/>
            <ac:spMk id="27" creationId="{717E63D2-0426-645A-852D-9D2335680A26}"/>
          </ac:spMkLst>
        </pc:spChg>
        <pc:spChg chg="mod">
          <ac:chgData name="Aruzhan Bakhazatkhanova" userId="c778e498-cb36-475a-b96c-6ba69ac00b7a" providerId="ADAL" clId="{6D92F819-21BB-460E-9396-57672536A5C8}" dt="2025-10-17T10:56:03.576" v="170" actId="20577"/>
          <ac:spMkLst>
            <pc:docMk/>
            <pc:sldMk cId="3383460671" sldId="2280"/>
            <ac:spMk id="29" creationId="{F3BBE2DB-92FC-7A8E-E15B-E57346F298A8}"/>
          </ac:spMkLst>
        </pc:spChg>
        <pc:spChg chg="mod">
          <ac:chgData name="Aruzhan Bakhazatkhanova" userId="c778e498-cb36-475a-b96c-6ba69ac00b7a" providerId="ADAL" clId="{6D92F819-21BB-460E-9396-57672536A5C8}" dt="2025-10-17T10:53:16.236" v="123" actId="20577"/>
          <ac:spMkLst>
            <pc:docMk/>
            <pc:sldMk cId="3383460671" sldId="2280"/>
            <ac:spMk id="31" creationId="{5249A442-E606-DC0C-FBBB-BB1ED2FB411A}"/>
          </ac:spMkLst>
        </pc:spChg>
        <pc:cxnChg chg="mod">
          <ac:chgData name="Aruzhan Bakhazatkhanova" userId="c778e498-cb36-475a-b96c-6ba69ac00b7a" providerId="ADAL" clId="{6D92F819-21BB-460E-9396-57672536A5C8}" dt="2025-10-24T10:23:32.604" v="1248" actId="1036"/>
          <ac:cxnSpMkLst>
            <pc:docMk/>
            <pc:sldMk cId="3383460671" sldId="2280"/>
            <ac:cxnSpMk id="4" creationId="{A5A876CD-25CD-ED14-4EE7-3B6C6AEAD73B}"/>
          </ac:cxnSpMkLst>
        </pc:cxnChg>
        <pc:cxnChg chg="mod">
          <ac:chgData name="Aruzhan Bakhazatkhanova" userId="c778e498-cb36-475a-b96c-6ba69ac00b7a" providerId="ADAL" clId="{6D92F819-21BB-460E-9396-57672536A5C8}" dt="2025-10-24T10:23:26.169" v="1237" actId="1035"/>
          <ac:cxnSpMkLst>
            <pc:docMk/>
            <pc:sldMk cId="3383460671" sldId="2280"/>
            <ac:cxnSpMk id="8" creationId="{D47A0D28-4BFB-FE53-0646-E1150D79534F}"/>
          </ac:cxnSpMkLst>
        </pc:cxnChg>
      </pc:sldChg>
      <pc:sldChg chg="addSp delSp modSp add del mod">
        <pc:chgData name="Aruzhan Bakhazatkhanova" userId="c778e498-cb36-475a-b96c-6ba69ac00b7a" providerId="ADAL" clId="{6D92F819-21BB-460E-9396-57672536A5C8}" dt="2025-10-24T10:13:27.110" v="1162" actId="47"/>
        <pc:sldMkLst>
          <pc:docMk/>
          <pc:sldMk cId="1718075366" sldId="2281"/>
        </pc:sldMkLst>
      </pc:sldChg>
      <pc:sldChg chg="add del">
        <pc:chgData name="Aruzhan Bakhazatkhanova" userId="c778e498-cb36-475a-b96c-6ba69ac00b7a" providerId="ADAL" clId="{6D92F819-21BB-460E-9396-57672536A5C8}" dt="2025-10-17T11:01:51.154" v="363" actId="47"/>
        <pc:sldMkLst>
          <pc:docMk/>
          <pc:sldMk cId="4039848130" sldId="228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aifckz-my.sharepoint.com/personal/a_bekturov_aifc_kz/Documents/Customer%20Relationships/DATA%20ANALYTICS%20DEPARTMENT/Public%20Reports/Capital%20Markets/FINAL/market%20cap%20AIX%202018-202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2454"/>
            </a:solidFill>
          </c:spPr>
          <c:dPt>
            <c:idx val="0"/>
            <c:bubble3D val="0"/>
            <c:spPr>
              <a:solidFill>
                <a:srgbClr val="0024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BE6-46E9-BAB0-31C99C4144BD}"/>
              </c:ext>
            </c:extLst>
          </c:dPt>
          <c:dPt>
            <c:idx val="1"/>
            <c:bubble3D val="0"/>
            <c:spPr>
              <a:solidFill>
                <a:srgbClr val="0075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BE6-46E9-BAB0-31C99C4144BD}"/>
              </c:ext>
            </c:extLst>
          </c:dPt>
          <c:dPt>
            <c:idx val="2"/>
            <c:bubble3D val="0"/>
            <c:spPr>
              <a:solidFill>
                <a:srgbClr val="008E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BE6-46E9-BAB0-31C99C4144BD}"/>
              </c:ext>
            </c:extLst>
          </c:dPt>
          <c:dPt>
            <c:idx val="3"/>
            <c:bubble3D val="0"/>
            <c:spPr>
              <a:solidFill>
                <a:srgbClr val="7CB5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BE6-46E9-BAB0-31C99C4144B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Local</c:v>
                </c:pt>
                <c:pt idx="1">
                  <c:v>Europe</c:v>
                </c:pt>
                <c:pt idx="2">
                  <c:v>China</c:v>
                </c:pt>
                <c:pt idx="3">
                  <c:v>UAE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33</c:v>
                </c:pt>
                <c:pt idx="1">
                  <c:v>16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BE6-46E9-BAB0-31C99C4144B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656495113303375E-2"/>
          <c:y val="4.583333333333333E-2"/>
          <c:w val="0.86076570574201017"/>
          <c:h val="0.834110892388451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stings</c:v>
                </c:pt>
              </c:strCache>
            </c:strRef>
          </c:tx>
          <c:spPr>
            <a:solidFill>
              <a:srgbClr val="008EAA"/>
            </a:solidFill>
            <a:ln>
              <a:noFill/>
            </a:ln>
            <a:effectLst/>
          </c:spPr>
          <c:invertIfNegative val="0"/>
          <c:dLbls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247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9D0-4638-8697-441FFBB1A2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   3кв.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</c:v>
                </c:pt>
                <c:pt idx="1">
                  <c:v>36</c:v>
                </c:pt>
                <c:pt idx="2">
                  <c:v>65</c:v>
                </c:pt>
                <c:pt idx="3">
                  <c:v>110</c:v>
                </c:pt>
                <c:pt idx="4">
                  <c:v>104</c:v>
                </c:pt>
                <c:pt idx="5">
                  <c:v>131</c:v>
                </c:pt>
                <c:pt idx="6">
                  <c:v>229</c:v>
                </c:pt>
                <c:pt idx="7">
                  <c:v>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B3-48E0-8956-D214A5A8A1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suers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Lbls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1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9D0-4638-8697-441FFBB1A2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   3кв.2025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6</c:v>
                </c:pt>
                <c:pt idx="1">
                  <c:v>25</c:v>
                </c:pt>
                <c:pt idx="2">
                  <c:v>45</c:v>
                </c:pt>
                <c:pt idx="3">
                  <c:v>69</c:v>
                </c:pt>
                <c:pt idx="4">
                  <c:v>68</c:v>
                </c:pt>
                <c:pt idx="5">
                  <c:v>78</c:v>
                </c:pt>
                <c:pt idx="6">
                  <c:v>125</c:v>
                </c:pt>
                <c:pt idx="7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B3-48E0-8956-D214A5A8A15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00245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20-4D09-9856-A83F682E543B}"/>
              </c:ext>
            </c:extLst>
          </c:dPt>
          <c:dPt>
            <c:idx val="7"/>
            <c:invertIfNegative val="0"/>
            <c:bubble3D val="0"/>
            <c:spPr>
              <a:solidFill>
                <a:srgbClr val="008EA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20-4D09-9856-A83F682E543B}"/>
              </c:ext>
            </c:extLst>
          </c:dPt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1">
                  <c:v>1000000</c:v>
                </c:pt>
                <c:pt idx="2">
                  <c:v>25000000</c:v>
                </c:pt>
                <c:pt idx="3">
                  <c:v>217000000</c:v>
                </c:pt>
                <c:pt idx="4">
                  <c:v>106000000</c:v>
                </c:pt>
                <c:pt idx="5">
                  <c:v>452000000</c:v>
                </c:pt>
                <c:pt idx="6" formatCode="_(* #\ ##0_);_(* \(#\ ##0\);_(* &quot;-&quot;??_);_(@_)">
                  <c:v>819000000</c:v>
                </c:pt>
                <c:pt idx="7" formatCode="_(* #\ ##0_);_(* \(#\ ##0\);_(* &quot;-&quot;??_);_(@_)">
                  <c:v>98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20-4D09-9856-A83F682E54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26A6BD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120-4D09-9856-A83F682E543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rgbClr val="9DC3E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C3E6"/>
              </a:solidFill>
              <a:ln w="12700">
                <a:solidFill>
                  <a:srgbClr val="9DC3E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+8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0E31-4E33-927A-145D2629945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+28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0E31-4E33-927A-145D26299454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defRPr>
                    </a:pPr>
                    <a:r>
                      <a: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rPr>
                      <a:t>+31</a:t>
                    </a:r>
                  </a:p>
                </c:rich>
              </c:tx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1100" b="0" i="0" u="none" strike="noStrike" kern="1200" baseline="0">
                      <a:solidFill>
                        <a:schemeClr val="tx1"/>
                      </a:solidFill>
                      <a:latin typeface="Montserrat" panose="00000500000000000000" pitchFamily="2" charset="-52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E31-4E33-927A-145D2629945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B99A8969-297B-4FBA-9BFE-3705ABBAF586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E31-4E33-927A-145D2629945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70CD3C8A-0672-4BFE-8A57-9850E7D93652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E31-4E33-927A-145D2629945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4C1F1B30-74DA-4ECD-8E72-8CD0732A611B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E31-4E33-927A-145D26299454}"/>
                </c:ext>
              </c:extLst>
            </c:dLbl>
            <c:dLbl>
              <c:idx val="6"/>
              <c:layout>
                <c:manualLayout>
                  <c:x val="-5.891225216606899E-2"/>
                  <c:y val="-0.1690330852974152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+129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0E31-4E33-927A-145D2629945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+103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C9C-4D97-937D-086A22C9BD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H1 2025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8</c:v>
                </c:pt>
                <c:pt idx="1">
                  <c:v>28</c:v>
                </c:pt>
                <c:pt idx="2">
                  <c:v>31</c:v>
                </c:pt>
                <c:pt idx="3" formatCode="General">
                  <c:v>48</c:v>
                </c:pt>
                <c:pt idx="4" formatCode="General">
                  <c:v>13</c:v>
                </c:pt>
                <c:pt idx="5" formatCode="General">
                  <c:v>56</c:v>
                </c:pt>
                <c:pt idx="6" formatCode="General">
                  <c:v>129</c:v>
                </c:pt>
                <c:pt idx="7" formatCode="General">
                  <c:v>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E31-4E33-927A-145D2629945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59168640"/>
        <c:axId val="1110479008"/>
      </c:lineChart>
      <c:catAx>
        <c:axId val="1259168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 w="9525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00245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16-4C74-8F2E-015D3726EBE3}"/>
              </c:ext>
            </c:extLst>
          </c:dPt>
          <c:dPt>
            <c:idx val="7"/>
            <c:invertIfNegative val="0"/>
            <c:bubble3D val="0"/>
            <c:spPr>
              <a:solidFill>
                <a:srgbClr val="008EA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16-4C74-8F2E-015D3726EBE3}"/>
              </c:ext>
            </c:extLst>
          </c:dPt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 кв. 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1">
                  <c:v>813000000</c:v>
                </c:pt>
                <c:pt idx="2">
                  <c:v>148000000</c:v>
                </c:pt>
                <c:pt idx="3">
                  <c:v>708000000</c:v>
                </c:pt>
                <c:pt idx="4">
                  <c:v>557000000</c:v>
                </c:pt>
                <c:pt idx="5">
                  <c:v>2016000000</c:v>
                </c:pt>
                <c:pt idx="6">
                  <c:v>2283000000</c:v>
                </c:pt>
                <c:pt idx="7">
                  <c:v>31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16-4C74-8F2E-015D3726EBE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270716867185282"/>
          <c:y val="7.187444983592424E-2"/>
          <c:w val="0.58645864500330702"/>
          <c:h val="0.87968785927905579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270716867185282"/>
          <c:y val="7.187444983592424E-2"/>
          <c:w val="0.58645864500330702"/>
          <c:h val="0.8796878592790557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24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18-4AC9-A549-381AA8297B83}"/>
              </c:ext>
            </c:extLst>
          </c:dPt>
          <c:dPt>
            <c:idx val="1"/>
            <c:bubble3D val="0"/>
            <c:spPr>
              <a:solidFill>
                <a:srgbClr val="0058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18-4AC9-A549-381AA8297B83}"/>
              </c:ext>
            </c:extLst>
          </c:dPt>
          <c:dPt>
            <c:idx val="2"/>
            <c:bubble3D val="0"/>
            <c:spPr>
              <a:solidFill>
                <a:srgbClr val="549E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318-4AC9-A549-381AA8297B83}"/>
              </c:ext>
            </c:extLst>
          </c:dPt>
          <c:dPt>
            <c:idx val="3"/>
            <c:bubble3D val="0"/>
            <c:spPr>
              <a:solidFill>
                <a:srgbClr val="26A6B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318-4AC9-A549-381AA8297B83}"/>
              </c:ext>
            </c:extLst>
          </c:dPt>
          <c:dPt>
            <c:idx val="4"/>
            <c:bubble3D val="0"/>
            <c:spPr>
              <a:solidFill>
                <a:srgbClr val="82C6D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318-4AC9-A549-381AA8297B83}"/>
              </c:ext>
            </c:extLst>
          </c:dPt>
          <c:dPt>
            <c:idx val="5"/>
            <c:bubble3D val="0"/>
            <c:spPr>
              <a:solidFill>
                <a:srgbClr val="B4C7E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318-4AC9-A549-381AA8297B8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B4FB0348-8448-4D15-8210-7D77987C0EF2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318-4AC9-A549-381AA8297B8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E7B3CD1-7EE7-4283-8F1C-AA12B3A6E0EE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318-4AC9-A549-381AA8297B8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31C45FF-4767-4EE0-8D2A-75BD196CB20D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318-4AC9-A549-381AA8297B8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C5F72EA-E4C9-4A57-B68B-A16FA34D1C07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318-4AC9-A549-381AA8297B83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Investment </c:v>
                </c:pt>
                <c:pt idx="1">
                  <c:v>Government </c:v>
                </c:pt>
                <c:pt idx="2">
                  <c:v>Oil&amp;Gas </c:v>
                </c:pt>
                <c:pt idx="3">
                  <c:v>Banking </c:v>
                </c:pt>
                <c:pt idx="4">
                  <c:v>Logistics 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216</c:v>
                </c:pt>
                <c:pt idx="1">
                  <c:v>0.223</c:v>
                </c:pt>
                <c:pt idx="2">
                  <c:v>0.20200000000000001</c:v>
                </c:pt>
                <c:pt idx="3">
                  <c:v>8.7999999999999995E-2</c:v>
                </c:pt>
                <c:pt idx="4">
                  <c:v>6.0999999999999999E-2</c:v>
                </c:pt>
                <c:pt idx="5" formatCode="0.00%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318-4AC9-A549-381AA8297B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582340378398542E-2"/>
          <c:y val="0"/>
          <c:w val="0.93301450089809479"/>
          <c:h val="0.876763614887955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FC-4725-8F8E-C2E0CF6D016A}"/>
              </c:ext>
            </c:extLst>
          </c:dPt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9716</c:v>
                </c:pt>
                <c:pt idx="1">
                  <c:v>62207</c:v>
                </c:pt>
                <c:pt idx="2">
                  <c:v>102906</c:v>
                </c:pt>
                <c:pt idx="3">
                  <c:v>159857</c:v>
                </c:pt>
                <c:pt idx="4">
                  <c:v>524259</c:v>
                </c:pt>
                <c:pt idx="5">
                  <c:v>1578001</c:v>
                </c:pt>
                <c:pt idx="6" formatCode="_(* #\ ##0_);_(* \(#\ ##0\);_(* &quot;-&quot;??_);_(@_)">
                  <c:v>2028596</c:v>
                </c:pt>
                <c:pt idx="7" formatCode="_(* #\ ##0_);_(* \(#\ ##0\);_(* &quot;-&quot;??_);_(@_)">
                  <c:v>2197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FC-4725-8F8E-C2E0CF6D016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21247128927124"/>
          <c:y val="0.10335275899844344"/>
          <c:w val="0.52121283347044312"/>
          <c:h val="0.7751376505846463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248-4AF8-9A70-70284467D694}"/>
              </c:ext>
            </c:extLst>
          </c:dPt>
          <c:dPt>
            <c:idx val="1"/>
            <c:bubble3D val="0"/>
            <c:spPr>
              <a:solidFill>
                <a:srgbClr val="0024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248-4AF8-9A70-70284467D694}"/>
              </c:ext>
            </c:extLst>
          </c:dPt>
          <c:dPt>
            <c:idx val="2"/>
            <c:bubble3D val="0"/>
            <c:spPr>
              <a:solidFill>
                <a:srgbClr val="0058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248-4AF8-9A70-70284467D694}"/>
              </c:ext>
            </c:extLst>
          </c:dPt>
          <c:dPt>
            <c:idx val="3"/>
            <c:bubble3D val="0"/>
            <c:spPr>
              <a:solidFill>
                <a:srgbClr val="00829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248-4AF8-9A70-70284467D694}"/>
              </c:ext>
            </c:extLst>
          </c:dPt>
          <c:dPt>
            <c:idx val="4"/>
            <c:bubble3D val="0"/>
            <c:spPr>
              <a:solidFill>
                <a:srgbClr val="549E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248-4AF8-9A70-70284467D694}"/>
              </c:ext>
            </c:extLst>
          </c:dPt>
          <c:dPt>
            <c:idx val="5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248-4AF8-9A70-70284467D694}"/>
              </c:ext>
            </c:extLst>
          </c:dPt>
          <c:dPt>
            <c:idx val="6"/>
            <c:bubble3D val="0"/>
            <c:spPr>
              <a:solidFill>
                <a:srgbClr val="26A6B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248-4AF8-9A70-70284467D694}"/>
              </c:ext>
            </c:extLst>
          </c:dPt>
          <c:dPt>
            <c:idx val="7"/>
            <c:bubble3D val="0"/>
            <c:spPr>
              <a:solidFill>
                <a:srgbClr val="82C6D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248-4AF8-9A70-70284467D694}"/>
              </c:ext>
            </c:extLst>
          </c:dPt>
          <c:dPt>
            <c:idx val="8"/>
            <c:bubble3D val="0"/>
            <c:spPr>
              <a:solidFill>
                <a:srgbClr val="BFE1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248-4AF8-9A70-70284467D694}"/>
              </c:ext>
            </c:extLst>
          </c:dPt>
          <c:dPt>
            <c:idx val="9"/>
            <c:bubble3D val="0"/>
            <c:spPr>
              <a:solidFill>
                <a:srgbClr val="B4C7E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248-4AF8-9A70-70284467D694}"/>
              </c:ext>
            </c:extLst>
          </c:dPt>
          <c:dPt>
            <c:idx val="10"/>
            <c:bubble3D val="0"/>
            <c:spPr>
              <a:solidFill>
                <a:srgbClr val="8FAA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2248-4AF8-9A70-70284467D694}"/>
              </c:ext>
            </c:extLst>
          </c:dPt>
          <c:dPt>
            <c:idx val="1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248-4AF8-9A70-70284467D694}"/>
              </c:ext>
            </c:extLst>
          </c:dPt>
          <c:dPt>
            <c:idx val="1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2248-4AF8-9A70-70284467D694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B4FB0348-8448-4D15-8210-7D77987C0EF2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248-4AF8-9A70-70284467D69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E7B3CD1-7EE7-4283-8F1C-AA12B3A6E0EE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2248-4AF8-9A70-70284467D69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31C45FF-4767-4EE0-8D2A-75BD196CB20D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2248-4AF8-9A70-70284467D69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2248-4AF8-9A70-70284467D69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2248-4AF8-9A70-70284467D69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2248-4AF8-9A70-70284467D69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2248-4AF8-9A70-70284467D694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2248-4AF8-9A70-70284467D6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Freedom Holding Corp</c:v>
                </c:pt>
                <c:pt idx="1">
                  <c:v>KazMunayGas</c:v>
                </c:pt>
                <c:pt idx="2">
                  <c:v>NAC Kazatomprom</c:v>
                </c:pt>
                <c:pt idx="3">
                  <c:v>Kaspi</c:v>
                </c:pt>
                <c:pt idx="4">
                  <c:v>Halyk Bank</c:v>
                </c:pt>
                <c:pt idx="5">
                  <c:v>Polymetal</c:v>
                </c:pt>
                <c:pt idx="6">
                  <c:v>Kcell</c:v>
                </c:pt>
                <c:pt idx="7">
                  <c:v>Kazakhtelecom</c:v>
                </c:pt>
                <c:pt idx="8">
                  <c:v>KEGOC</c:v>
                </c:pt>
                <c:pt idx="9">
                  <c:v>Bank CenterCredit</c:v>
                </c:pt>
                <c:pt idx="10">
                  <c:v>Air Astana</c:v>
                </c:pt>
                <c:pt idx="11">
                  <c:v>KazTransOil</c:v>
                </c:pt>
                <c:pt idx="12">
                  <c:v>Central Asia Metal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5</c:v>
                </c:pt>
                <c:pt idx="1">
                  <c:v>0.15</c:v>
                </c:pt>
                <c:pt idx="2">
                  <c:v>0.15</c:v>
                </c:pt>
                <c:pt idx="3">
                  <c:v>0.15</c:v>
                </c:pt>
                <c:pt idx="4">
                  <c:v>0.1216</c:v>
                </c:pt>
                <c:pt idx="5">
                  <c:v>7.2300000000000003E-2</c:v>
                </c:pt>
                <c:pt idx="6">
                  <c:v>5.3499999999999999E-2</c:v>
                </c:pt>
                <c:pt idx="7">
                  <c:v>3.3700000000000001E-2</c:v>
                </c:pt>
                <c:pt idx="8">
                  <c:v>2.6700000000000002E-2</c:v>
                </c:pt>
                <c:pt idx="9">
                  <c:v>2.8799999999999999E-2</c:v>
                </c:pt>
                <c:pt idx="10">
                  <c:v>2.63E-2</c:v>
                </c:pt>
                <c:pt idx="11">
                  <c:v>2.07E-2</c:v>
                </c:pt>
                <c:pt idx="12">
                  <c:v>1.64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2248-4AF8-9A70-70284467D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62282519433218E-2"/>
          <c:y val="5.4208008195226434E-2"/>
          <c:w val="0.92027543496113351"/>
          <c:h val="0.891583983609547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>
              <a:solidFill>
                <a:srgbClr val="26A6BD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921B-4D57-96E8-50875E9AE968}"/>
              </c:ext>
            </c:extLst>
          </c:dPt>
          <c:dLbls>
            <c:delete val="1"/>
          </c:dLbls>
          <c:cat>
            <c:numRef>
              <c:f>Sheet1!$A$5:$A$1024</c:f>
              <c:numCache>
                <c:formatCode>m/d/yyyy</c:formatCode>
                <c:ptCount val="1020"/>
                <c:pt idx="0">
                  <c:v>44378</c:v>
                </c:pt>
                <c:pt idx="1">
                  <c:v>44379</c:v>
                </c:pt>
                <c:pt idx="2">
                  <c:v>44384</c:v>
                </c:pt>
                <c:pt idx="3">
                  <c:v>44385</c:v>
                </c:pt>
                <c:pt idx="4">
                  <c:v>44386</c:v>
                </c:pt>
                <c:pt idx="5">
                  <c:v>44389</c:v>
                </c:pt>
                <c:pt idx="6">
                  <c:v>44390</c:v>
                </c:pt>
                <c:pt idx="7">
                  <c:v>44391</c:v>
                </c:pt>
                <c:pt idx="8">
                  <c:v>44392</c:v>
                </c:pt>
                <c:pt idx="9">
                  <c:v>44393</c:v>
                </c:pt>
                <c:pt idx="10">
                  <c:v>44396</c:v>
                </c:pt>
                <c:pt idx="11">
                  <c:v>44398</c:v>
                </c:pt>
                <c:pt idx="12">
                  <c:v>44399</c:v>
                </c:pt>
                <c:pt idx="13">
                  <c:v>44400</c:v>
                </c:pt>
                <c:pt idx="14">
                  <c:v>44403</c:v>
                </c:pt>
                <c:pt idx="15">
                  <c:v>44404</c:v>
                </c:pt>
                <c:pt idx="16">
                  <c:v>44405</c:v>
                </c:pt>
                <c:pt idx="17">
                  <c:v>44406</c:v>
                </c:pt>
                <c:pt idx="18">
                  <c:v>44407</c:v>
                </c:pt>
                <c:pt idx="19">
                  <c:v>44410</c:v>
                </c:pt>
                <c:pt idx="20">
                  <c:v>44411</c:v>
                </c:pt>
                <c:pt idx="21">
                  <c:v>44412</c:v>
                </c:pt>
                <c:pt idx="22">
                  <c:v>44413</c:v>
                </c:pt>
                <c:pt idx="23">
                  <c:v>44414</c:v>
                </c:pt>
                <c:pt idx="24">
                  <c:v>44417</c:v>
                </c:pt>
                <c:pt idx="25">
                  <c:v>44418</c:v>
                </c:pt>
                <c:pt idx="26">
                  <c:v>44419</c:v>
                </c:pt>
                <c:pt idx="27">
                  <c:v>44420</c:v>
                </c:pt>
                <c:pt idx="28">
                  <c:v>44421</c:v>
                </c:pt>
                <c:pt idx="29">
                  <c:v>44424</c:v>
                </c:pt>
                <c:pt idx="30">
                  <c:v>44425</c:v>
                </c:pt>
                <c:pt idx="31">
                  <c:v>44426</c:v>
                </c:pt>
                <c:pt idx="32">
                  <c:v>44427</c:v>
                </c:pt>
                <c:pt idx="33">
                  <c:v>44428</c:v>
                </c:pt>
                <c:pt idx="34">
                  <c:v>44431</c:v>
                </c:pt>
                <c:pt idx="35">
                  <c:v>44432</c:v>
                </c:pt>
                <c:pt idx="36">
                  <c:v>44433</c:v>
                </c:pt>
                <c:pt idx="37">
                  <c:v>44434</c:v>
                </c:pt>
                <c:pt idx="38">
                  <c:v>44435</c:v>
                </c:pt>
                <c:pt idx="39">
                  <c:v>44439</c:v>
                </c:pt>
                <c:pt idx="40">
                  <c:v>44440</c:v>
                </c:pt>
                <c:pt idx="41">
                  <c:v>44441</c:v>
                </c:pt>
                <c:pt idx="42">
                  <c:v>44442</c:v>
                </c:pt>
                <c:pt idx="43">
                  <c:v>44445</c:v>
                </c:pt>
                <c:pt idx="44">
                  <c:v>44446</c:v>
                </c:pt>
                <c:pt idx="45">
                  <c:v>44447</c:v>
                </c:pt>
                <c:pt idx="46">
                  <c:v>44448</c:v>
                </c:pt>
                <c:pt idx="47">
                  <c:v>44449</c:v>
                </c:pt>
                <c:pt idx="48">
                  <c:v>44452</c:v>
                </c:pt>
                <c:pt idx="49">
                  <c:v>44453</c:v>
                </c:pt>
                <c:pt idx="50">
                  <c:v>44454</c:v>
                </c:pt>
                <c:pt idx="51">
                  <c:v>44455</c:v>
                </c:pt>
                <c:pt idx="52">
                  <c:v>44456</c:v>
                </c:pt>
                <c:pt idx="53">
                  <c:v>44459</c:v>
                </c:pt>
                <c:pt idx="54">
                  <c:v>44460</c:v>
                </c:pt>
                <c:pt idx="55">
                  <c:v>44461</c:v>
                </c:pt>
                <c:pt idx="56">
                  <c:v>44462</c:v>
                </c:pt>
                <c:pt idx="57">
                  <c:v>44463</c:v>
                </c:pt>
                <c:pt idx="58">
                  <c:v>44466</c:v>
                </c:pt>
                <c:pt idx="59">
                  <c:v>44467</c:v>
                </c:pt>
                <c:pt idx="60">
                  <c:v>44468</c:v>
                </c:pt>
                <c:pt idx="61">
                  <c:v>44469</c:v>
                </c:pt>
                <c:pt idx="62">
                  <c:v>44470</c:v>
                </c:pt>
                <c:pt idx="63">
                  <c:v>44473</c:v>
                </c:pt>
                <c:pt idx="64">
                  <c:v>44474</c:v>
                </c:pt>
                <c:pt idx="65">
                  <c:v>44475</c:v>
                </c:pt>
                <c:pt idx="66">
                  <c:v>44476</c:v>
                </c:pt>
                <c:pt idx="67">
                  <c:v>44477</c:v>
                </c:pt>
                <c:pt idx="68">
                  <c:v>44480</c:v>
                </c:pt>
                <c:pt idx="69">
                  <c:v>44481</c:v>
                </c:pt>
                <c:pt idx="70">
                  <c:v>44482</c:v>
                </c:pt>
                <c:pt idx="71">
                  <c:v>44483</c:v>
                </c:pt>
                <c:pt idx="72">
                  <c:v>44484</c:v>
                </c:pt>
                <c:pt idx="73">
                  <c:v>44487</c:v>
                </c:pt>
                <c:pt idx="74">
                  <c:v>44488</c:v>
                </c:pt>
                <c:pt idx="75">
                  <c:v>44489</c:v>
                </c:pt>
                <c:pt idx="76">
                  <c:v>44490</c:v>
                </c:pt>
                <c:pt idx="77">
                  <c:v>44491</c:v>
                </c:pt>
                <c:pt idx="78">
                  <c:v>44494</c:v>
                </c:pt>
                <c:pt idx="79">
                  <c:v>44495</c:v>
                </c:pt>
                <c:pt idx="80">
                  <c:v>44496</c:v>
                </c:pt>
                <c:pt idx="81">
                  <c:v>44497</c:v>
                </c:pt>
                <c:pt idx="82">
                  <c:v>44498</c:v>
                </c:pt>
                <c:pt idx="83">
                  <c:v>44501</c:v>
                </c:pt>
                <c:pt idx="84">
                  <c:v>44502</c:v>
                </c:pt>
                <c:pt idx="85">
                  <c:v>44503</c:v>
                </c:pt>
                <c:pt idx="86">
                  <c:v>44504</c:v>
                </c:pt>
                <c:pt idx="87">
                  <c:v>44505</c:v>
                </c:pt>
                <c:pt idx="88">
                  <c:v>44508</c:v>
                </c:pt>
                <c:pt idx="89">
                  <c:v>44509</c:v>
                </c:pt>
                <c:pt idx="90">
                  <c:v>44510</c:v>
                </c:pt>
                <c:pt idx="91">
                  <c:v>44511</c:v>
                </c:pt>
                <c:pt idx="92">
                  <c:v>44512</c:v>
                </c:pt>
                <c:pt idx="93">
                  <c:v>44515</c:v>
                </c:pt>
                <c:pt idx="94">
                  <c:v>44516</c:v>
                </c:pt>
                <c:pt idx="95">
                  <c:v>44517</c:v>
                </c:pt>
                <c:pt idx="96">
                  <c:v>44518</c:v>
                </c:pt>
                <c:pt idx="97">
                  <c:v>44519</c:v>
                </c:pt>
                <c:pt idx="98">
                  <c:v>44522</c:v>
                </c:pt>
                <c:pt idx="99">
                  <c:v>44523</c:v>
                </c:pt>
                <c:pt idx="100">
                  <c:v>44524</c:v>
                </c:pt>
                <c:pt idx="101">
                  <c:v>44525</c:v>
                </c:pt>
                <c:pt idx="102">
                  <c:v>44526</c:v>
                </c:pt>
                <c:pt idx="103">
                  <c:v>44529</c:v>
                </c:pt>
                <c:pt idx="104">
                  <c:v>44530</c:v>
                </c:pt>
                <c:pt idx="105">
                  <c:v>44532</c:v>
                </c:pt>
                <c:pt idx="106">
                  <c:v>44533</c:v>
                </c:pt>
                <c:pt idx="107">
                  <c:v>44536</c:v>
                </c:pt>
                <c:pt idx="108">
                  <c:v>44537</c:v>
                </c:pt>
                <c:pt idx="109">
                  <c:v>44538</c:v>
                </c:pt>
                <c:pt idx="110">
                  <c:v>44539</c:v>
                </c:pt>
                <c:pt idx="111">
                  <c:v>44540</c:v>
                </c:pt>
                <c:pt idx="112">
                  <c:v>44543</c:v>
                </c:pt>
                <c:pt idx="113">
                  <c:v>44544</c:v>
                </c:pt>
                <c:pt idx="114">
                  <c:v>44545</c:v>
                </c:pt>
                <c:pt idx="115">
                  <c:v>44550</c:v>
                </c:pt>
                <c:pt idx="116">
                  <c:v>44551</c:v>
                </c:pt>
                <c:pt idx="117">
                  <c:v>44552</c:v>
                </c:pt>
                <c:pt idx="118">
                  <c:v>44553</c:v>
                </c:pt>
                <c:pt idx="119">
                  <c:v>44554</c:v>
                </c:pt>
                <c:pt idx="120">
                  <c:v>44557</c:v>
                </c:pt>
                <c:pt idx="121">
                  <c:v>44558</c:v>
                </c:pt>
                <c:pt idx="122">
                  <c:v>44559</c:v>
                </c:pt>
                <c:pt idx="123">
                  <c:v>44560</c:v>
                </c:pt>
                <c:pt idx="124">
                  <c:v>44561</c:v>
                </c:pt>
                <c:pt idx="125">
                  <c:v>44566</c:v>
                </c:pt>
                <c:pt idx="126">
                  <c:v>44571</c:v>
                </c:pt>
                <c:pt idx="127">
                  <c:v>44572</c:v>
                </c:pt>
                <c:pt idx="128">
                  <c:v>44573</c:v>
                </c:pt>
                <c:pt idx="129">
                  <c:v>44574</c:v>
                </c:pt>
                <c:pt idx="130">
                  <c:v>44575</c:v>
                </c:pt>
                <c:pt idx="131">
                  <c:v>44578</c:v>
                </c:pt>
                <c:pt idx="132">
                  <c:v>44579</c:v>
                </c:pt>
                <c:pt idx="133">
                  <c:v>44580</c:v>
                </c:pt>
                <c:pt idx="134">
                  <c:v>44581</c:v>
                </c:pt>
                <c:pt idx="135">
                  <c:v>44582</c:v>
                </c:pt>
                <c:pt idx="136">
                  <c:v>44585</c:v>
                </c:pt>
                <c:pt idx="137">
                  <c:v>44586</c:v>
                </c:pt>
                <c:pt idx="138">
                  <c:v>44587</c:v>
                </c:pt>
                <c:pt idx="139">
                  <c:v>44588</c:v>
                </c:pt>
                <c:pt idx="140">
                  <c:v>44589</c:v>
                </c:pt>
                <c:pt idx="141">
                  <c:v>44592</c:v>
                </c:pt>
                <c:pt idx="142">
                  <c:v>44593</c:v>
                </c:pt>
                <c:pt idx="143">
                  <c:v>44594</c:v>
                </c:pt>
                <c:pt idx="144">
                  <c:v>44595</c:v>
                </c:pt>
                <c:pt idx="145">
                  <c:v>44596</c:v>
                </c:pt>
                <c:pt idx="146">
                  <c:v>44599</c:v>
                </c:pt>
                <c:pt idx="147">
                  <c:v>44600</c:v>
                </c:pt>
                <c:pt idx="148">
                  <c:v>44601</c:v>
                </c:pt>
                <c:pt idx="149">
                  <c:v>44602</c:v>
                </c:pt>
                <c:pt idx="150">
                  <c:v>44603</c:v>
                </c:pt>
                <c:pt idx="151">
                  <c:v>44606</c:v>
                </c:pt>
                <c:pt idx="152">
                  <c:v>44607</c:v>
                </c:pt>
                <c:pt idx="153">
                  <c:v>44608</c:v>
                </c:pt>
                <c:pt idx="154">
                  <c:v>44609</c:v>
                </c:pt>
                <c:pt idx="155">
                  <c:v>44610</c:v>
                </c:pt>
                <c:pt idx="156">
                  <c:v>44613</c:v>
                </c:pt>
                <c:pt idx="157">
                  <c:v>44614</c:v>
                </c:pt>
                <c:pt idx="158">
                  <c:v>44615</c:v>
                </c:pt>
                <c:pt idx="159">
                  <c:v>44616</c:v>
                </c:pt>
                <c:pt idx="160">
                  <c:v>44617</c:v>
                </c:pt>
                <c:pt idx="161">
                  <c:v>44620</c:v>
                </c:pt>
                <c:pt idx="162">
                  <c:v>44621</c:v>
                </c:pt>
                <c:pt idx="163">
                  <c:v>44622</c:v>
                </c:pt>
                <c:pt idx="164">
                  <c:v>44623</c:v>
                </c:pt>
                <c:pt idx="165">
                  <c:v>44624</c:v>
                </c:pt>
                <c:pt idx="166">
                  <c:v>44629</c:v>
                </c:pt>
                <c:pt idx="167">
                  <c:v>44630</c:v>
                </c:pt>
                <c:pt idx="168">
                  <c:v>44631</c:v>
                </c:pt>
                <c:pt idx="169">
                  <c:v>44634</c:v>
                </c:pt>
                <c:pt idx="170">
                  <c:v>44635</c:v>
                </c:pt>
                <c:pt idx="171">
                  <c:v>44636</c:v>
                </c:pt>
                <c:pt idx="172">
                  <c:v>44637</c:v>
                </c:pt>
                <c:pt idx="173">
                  <c:v>44638</c:v>
                </c:pt>
                <c:pt idx="174">
                  <c:v>44644</c:v>
                </c:pt>
                <c:pt idx="175">
                  <c:v>44645</c:v>
                </c:pt>
                <c:pt idx="176">
                  <c:v>44648</c:v>
                </c:pt>
                <c:pt idx="177">
                  <c:v>44649</c:v>
                </c:pt>
                <c:pt idx="178">
                  <c:v>44650</c:v>
                </c:pt>
                <c:pt idx="179">
                  <c:v>44651</c:v>
                </c:pt>
                <c:pt idx="180">
                  <c:v>44652</c:v>
                </c:pt>
                <c:pt idx="181">
                  <c:v>44655</c:v>
                </c:pt>
                <c:pt idx="182">
                  <c:v>44656</c:v>
                </c:pt>
                <c:pt idx="183">
                  <c:v>44657</c:v>
                </c:pt>
                <c:pt idx="184">
                  <c:v>44658</c:v>
                </c:pt>
                <c:pt idx="185">
                  <c:v>44659</c:v>
                </c:pt>
                <c:pt idx="186">
                  <c:v>44662</c:v>
                </c:pt>
                <c:pt idx="187">
                  <c:v>44663</c:v>
                </c:pt>
                <c:pt idx="188">
                  <c:v>44664</c:v>
                </c:pt>
                <c:pt idx="189">
                  <c:v>44665</c:v>
                </c:pt>
                <c:pt idx="190">
                  <c:v>44666</c:v>
                </c:pt>
                <c:pt idx="191">
                  <c:v>44669</c:v>
                </c:pt>
                <c:pt idx="192">
                  <c:v>44670</c:v>
                </c:pt>
                <c:pt idx="193">
                  <c:v>44671</c:v>
                </c:pt>
                <c:pt idx="194">
                  <c:v>44672</c:v>
                </c:pt>
                <c:pt idx="195">
                  <c:v>44673</c:v>
                </c:pt>
                <c:pt idx="196">
                  <c:v>44676</c:v>
                </c:pt>
                <c:pt idx="197">
                  <c:v>44677</c:v>
                </c:pt>
                <c:pt idx="198">
                  <c:v>44678</c:v>
                </c:pt>
                <c:pt idx="199">
                  <c:v>44679</c:v>
                </c:pt>
                <c:pt idx="200">
                  <c:v>44680</c:v>
                </c:pt>
                <c:pt idx="201">
                  <c:v>44684</c:v>
                </c:pt>
                <c:pt idx="202">
                  <c:v>44685</c:v>
                </c:pt>
                <c:pt idx="203">
                  <c:v>44686</c:v>
                </c:pt>
                <c:pt idx="204">
                  <c:v>44687</c:v>
                </c:pt>
                <c:pt idx="205">
                  <c:v>44692</c:v>
                </c:pt>
                <c:pt idx="206">
                  <c:v>44693</c:v>
                </c:pt>
                <c:pt idx="207">
                  <c:v>44694</c:v>
                </c:pt>
                <c:pt idx="208">
                  <c:v>44697</c:v>
                </c:pt>
                <c:pt idx="209">
                  <c:v>44698</c:v>
                </c:pt>
                <c:pt idx="210">
                  <c:v>44699</c:v>
                </c:pt>
                <c:pt idx="211">
                  <c:v>44700</c:v>
                </c:pt>
                <c:pt idx="212">
                  <c:v>44701</c:v>
                </c:pt>
                <c:pt idx="213">
                  <c:v>44704</c:v>
                </c:pt>
                <c:pt idx="214">
                  <c:v>44705</c:v>
                </c:pt>
                <c:pt idx="215">
                  <c:v>44706</c:v>
                </c:pt>
                <c:pt idx="216">
                  <c:v>44707</c:v>
                </c:pt>
                <c:pt idx="217">
                  <c:v>44708</c:v>
                </c:pt>
                <c:pt idx="218">
                  <c:v>44711</c:v>
                </c:pt>
                <c:pt idx="219">
                  <c:v>44712</c:v>
                </c:pt>
                <c:pt idx="220">
                  <c:v>44713</c:v>
                </c:pt>
                <c:pt idx="221">
                  <c:v>44714</c:v>
                </c:pt>
                <c:pt idx="222">
                  <c:v>44715</c:v>
                </c:pt>
                <c:pt idx="223">
                  <c:v>44718</c:v>
                </c:pt>
                <c:pt idx="224">
                  <c:v>44719</c:v>
                </c:pt>
                <c:pt idx="225">
                  <c:v>44720</c:v>
                </c:pt>
                <c:pt idx="226">
                  <c:v>44721</c:v>
                </c:pt>
                <c:pt idx="227">
                  <c:v>44722</c:v>
                </c:pt>
                <c:pt idx="228">
                  <c:v>44725</c:v>
                </c:pt>
                <c:pt idx="229">
                  <c:v>44726</c:v>
                </c:pt>
                <c:pt idx="230">
                  <c:v>44727</c:v>
                </c:pt>
                <c:pt idx="231">
                  <c:v>44728</c:v>
                </c:pt>
                <c:pt idx="232">
                  <c:v>44729</c:v>
                </c:pt>
                <c:pt idx="233">
                  <c:v>44732</c:v>
                </c:pt>
                <c:pt idx="234">
                  <c:v>44733</c:v>
                </c:pt>
                <c:pt idx="235">
                  <c:v>44734</c:v>
                </c:pt>
                <c:pt idx="236">
                  <c:v>44735</c:v>
                </c:pt>
                <c:pt idx="237">
                  <c:v>44736</c:v>
                </c:pt>
                <c:pt idx="238">
                  <c:v>44739</c:v>
                </c:pt>
                <c:pt idx="239">
                  <c:v>44740</c:v>
                </c:pt>
                <c:pt idx="240">
                  <c:v>44741</c:v>
                </c:pt>
                <c:pt idx="241">
                  <c:v>44742</c:v>
                </c:pt>
                <c:pt idx="242">
                  <c:v>44743</c:v>
                </c:pt>
                <c:pt idx="243">
                  <c:v>44746</c:v>
                </c:pt>
                <c:pt idx="244">
                  <c:v>44747</c:v>
                </c:pt>
                <c:pt idx="245">
                  <c:v>44749</c:v>
                </c:pt>
                <c:pt idx="246">
                  <c:v>44750</c:v>
                </c:pt>
                <c:pt idx="247">
                  <c:v>44753</c:v>
                </c:pt>
                <c:pt idx="248">
                  <c:v>44754</c:v>
                </c:pt>
                <c:pt idx="249">
                  <c:v>44755</c:v>
                </c:pt>
                <c:pt idx="250">
                  <c:v>44756</c:v>
                </c:pt>
                <c:pt idx="251">
                  <c:v>44757</c:v>
                </c:pt>
                <c:pt idx="252">
                  <c:v>44760</c:v>
                </c:pt>
                <c:pt idx="253">
                  <c:v>44761</c:v>
                </c:pt>
                <c:pt idx="254">
                  <c:v>44762</c:v>
                </c:pt>
                <c:pt idx="255">
                  <c:v>44763</c:v>
                </c:pt>
                <c:pt idx="256">
                  <c:v>44764</c:v>
                </c:pt>
                <c:pt idx="257">
                  <c:v>44767</c:v>
                </c:pt>
                <c:pt idx="258">
                  <c:v>44768</c:v>
                </c:pt>
                <c:pt idx="259">
                  <c:v>44769</c:v>
                </c:pt>
                <c:pt idx="260">
                  <c:v>44770</c:v>
                </c:pt>
                <c:pt idx="261">
                  <c:v>44771</c:v>
                </c:pt>
                <c:pt idx="262">
                  <c:v>44774</c:v>
                </c:pt>
                <c:pt idx="263">
                  <c:v>44775</c:v>
                </c:pt>
                <c:pt idx="264">
                  <c:v>44776</c:v>
                </c:pt>
                <c:pt idx="265">
                  <c:v>44777</c:v>
                </c:pt>
                <c:pt idx="266">
                  <c:v>44778</c:v>
                </c:pt>
                <c:pt idx="267">
                  <c:v>44781</c:v>
                </c:pt>
                <c:pt idx="268">
                  <c:v>44782</c:v>
                </c:pt>
                <c:pt idx="269">
                  <c:v>44783</c:v>
                </c:pt>
                <c:pt idx="270">
                  <c:v>44784</c:v>
                </c:pt>
                <c:pt idx="271">
                  <c:v>44785</c:v>
                </c:pt>
                <c:pt idx="272">
                  <c:v>44788</c:v>
                </c:pt>
                <c:pt idx="273">
                  <c:v>44789</c:v>
                </c:pt>
                <c:pt idx="274">
                  <c:v>44790</c:v>
                </c:pt>
                <c:pt idx="275">
                  <c:v>44791</c:v>
                </c:pt>
                <c:pt idx="276">
                  <c:v>44792</c:v>
                </c:pt>
                <c:pt idx="277">
                  <c:v>44795</c:v>
                </c:pt>
                <c:pt idx="278">
                  <c:v>44796</c:v>
                </c:pt>
                <c:pt idx="279">
                  <c:v>44797</c:v>
                </c:pt>
                <c:pt idx="280">
                  <c:v>44798</c:v>
                </c:pt>
                <c:pt idx="281">
                  <c:v>44799</c:v>
                </c:pt>
                <c:pt idx="282">
                  <c:v>44804</c:v>
                </c:pt>
                <c:pt idx="283">
                  <c:v>44805</c:v>
                </c:pt>
                <c:pt idx="284">
                  <c:v>44806</c:v>
                </c:pt>
                <c:pt idx="285">
                  <c:v>44809</c:v>
                </c:pt>
                <c:pt idx="286">
                  <c:v>44810</c:v>
                </c:pt>
                <c:pt idx="287">
                  <c:v>44811</c:v>
                </c:pt>
                <c:pt idx="288">
                  <c:v>44812</c:v>
                </c:pt>
                <c:pt idx="289">
                  <c:v>44813</c:v>
                </c:pt>
                <c:pt idx="290">
                  <c:v>44816</c:v>
                </c:pt>
                <c:pt idx="291">
                  <c:v>44817</c:v>
                </c:pt>
                <c:pt idx="292">
                  <c:v>44818</c:v>
                </c:pt>
                <c:pt idx="293">
                  <c:v>44819</c:v>
                </c:pt>
                <c:pt idx="294">
                  <c:v>44820</c:v>
                </c:pt>
                <c:pt idx="295">
                  <c:v>44823</c:v>
                </c:pt>
                <c:pt idx="296">
                  <c:v>44824</c:v>
                </c:pt>
                <c:pt idx="297">
                  <c:v>44825</c:v>
                </c:pt>
                <c:pt idx="298">
                  <c:v>44826</c:v>
                </c:pt>
                <c:pt idx="299">
                  <c:v>44827</c:v>
                </c:pt>
                <c:pt idx="300">
                  <c:v>44830</c:v>
                </c:pt>
                <c:pt idx="301">
                  <c:v>44831</c:v>
                </c:pt>
                <c:pt idx="302">
                  <c:v>44832</c:v>
                </c:pt>
                <c:pt idx="303">
                  <c:v>44833</c:v>
                </c:pt>
                <c:pt idx="304">
                  <c:v>44834</c:v>
                </c:pt>
                <c:pt idx="305">
                  <c:v>44837</c:v>
                </c:pt>
                <c:pt idx="306">
                  <c:v>44838</c:v>
                </c:pt>
                <c:pt idx="307">
                  <c:v>44839</c:v>
                </c:pt>
                <c:pt idx="308">
                  <c:v>44840</c:v>
                </c:pt>
                <c:pt idx="309">
                  <c:v>44841</c:v>
                </c:pt>
                <c:pt idx="310">
                  <c:v>44844</c:v>
                </c:pt>
                <c:pt idx="311">
                  <c:v>44845</c:v>
                </c:pt>
                <c:pt idx="312">
                  <c:v>44846</c:v>
                </c:pt>
                <c:pt idx="313">
                  <c:v>44847</c:v>
                </c:pt>
                <c:pt idx="314">
                  <c:v>44848</c:v>
                </c:pt>
                <c:pt idx="315">
                  <c:v>44851</c:v>
                </c:pt>
                <c:pt idx="316">
                  <c:v>44852</c:v>
                </c:pt>
                <c:pt idx="317">
                  <c:v>44853</c:v>
                </c:pt>
                <c:pt idx="318">
                  <c:v>44854</c:v>
                </c:pt>
                <c:pt idx="319">
                  <c:v>44855</c:v>
                </c:pt>
                <c:pt idx="320">
                  <c:v>44860</c:v>
                </c:pt>
                <c:pt idx="321">
                  <c:v>44861</c:v>
                </c:pt>
                <c:pt idx="322">
                  <c:v>44862</c:v>
                </c:pt>
                <c:pt idx="323">
                  <c:v>44865</c:v>
                </c:pt>
                <c:pt idx="324">
                  <c:v>44866</c:v>
                </c:pt>
                <c:pt idx="325">
                  <c:v>44867</c:v>
                </c:pt>
                <c:pt idx="326">
                  <c:v>44868</c:v>
                </c:pt>
                <c:pt idx="327">
                  <c:v>44869</c:v>
                </c:pt>
                <c:pt idx="328">
                  <c:v>44872</c:v>
                </c:pt>
                <c:pt idx="329">
                  <c:v>44873</c:v>
                </c:pt>
                <c:pt idx="330">
                  <c:v>44874</c:v>
                </c:pt>
                <c:pt idx="331">
                  <c:v>44875</c:v>
                </c:pt>
                <c:pt idx="332">
                  <c:v>44876</c:v>
                </c:pt>
                <c:pt idx="333">
                  <c:v>44879</c:v>
                </c:pt>
                <c:pt idx="334">
                  <c:v>44880</c:v>
                </c:pt>
                <c:pt idx="335">
                  <c:v>44881</c:v>
                </c:pt>
                <c:pt idx="336">
                  <c:v>44882</c:v>
                </c:pt>
                <c:pt idx="337">
                  <c:v>44883</c:v>
                </c:pt>
                <c:pt idx="338">
                  <c:v>44886</c:v>
                </c:pt>
                <c:pt idx="339">
                  <c:v>44887</c:v>
                </c:pt>
                <c:pt idx="340">
                  <c:v>44888</c:v>
                </c:pt>
                <c:pt idx="341">
                  <c:v>44889</c:v>
                </c:pt>
                <c:pt idx="342">
                  <c:v>44890</c:v>
                </c:pt>
                <c:pt idx="343">
                  <c:v>44893</c:v>
                </c:pt>
                <c:pt idx="344">
                  <c:v>44894</c:v>
                </c:pt>
                <c:pt idx="345">
                  <c:v>44895</c:v>
                </c:pt>
                <c:pt idx="346">
                  <c:v>44896</c:v>
                </c:pt>
                <c:pt idx="347">
                  <c:v>44897</c:v>
                </c:pt>
                <c:pt idx="348">
                  <c:v>44900</c:v>
                </c:pt>
                <c:pt idx="349">
                  <c:v>44901</c:v>
                </c:pt>
                <c:pt idx="350">
                  <c:v>44902</c:v>
                </c:pt>
                <c:pt idx="351">
                  <c:v>44903</c:v>
                </c:pt>
                <c:pt idx="352">
                  <c:v>44904</c:v>
                </c:pt>
                <c:pt idx="353">
                  <c:v>44907</c:v>
                </c:pt>
                <c:pt idx="354">
                  <c:v>44908</c:v>
                </c:pt>
                <c:pt idx="355">
                  <c:v>44909</c:v>
                </c:pt>
                <c:pt idx="356">
                  <c:v>44910</c:v>
                </c:pt>
                <c:pt idx="357">
                  <c:v>44914</c:v>
                </c:pt>
                <c:pt idx="358">
                  <c:v>44915</c:v>
                </c:pt>
                <c:pt idx="359">
                  <c:v>44916</c:v>
                </c:pt>
                <c:pt idx="360">
                  <c:v>44917</c:v>
                </c:pt>
                <c:pt idx="361">
                  <c:v>44918</c:v>
                </c:pt>
                <c:pt idx="362">
                  <c:v>44921</c:v>
                </c:pt>
                <c:pt idx="363">
                  <c:v>44922</c:v>
                </c:pt>
                <c:pt idx="364">
                  <c:v>44923</c:v>
                </c:pt>
                <c:pt idx="365">
                  <c:v>44924</c:v>
                </c:pt>
                <c:pt idx="366">
                  <c:v>44925</c:v>
                </c:pt>
                <c:pt idx="367">
                  <c:v>44930</c:v>
                </c:pt>
                <c:pt idx="368">
                  <c:v>44931</c:v>
                </c:pt>
                <c:pt idx="369">
                  <c:v>44932</c:v>
                </c:pt>
                <c:pt idx="370">
                  <c:v>44935</c:v>
                </c:pt>
                <c:pt idx="371">
                  <c:v>44936</c:v>
                </c:pt>
                <c:pt idx="372">
                  <c:v>44937</c:v>
                </c:pt>
                <c:pt idx="373">
                  <c:v>44938</c:v>
                </c:pt>
                <c:pt idx="374">
                  <c:v>44939</c:v>
                </c:pt>
                <c:pt idx="375">
                  <c:v>44942</c:v>
                </c:pt>
                <c:pt idx="376">
                  <c:v>44943</c:v>
                </c:pt>
                <c:pt idx="377">
                  <c:v>44944</c:v>
                </c:pt>
                <c:pt idx="378">
                  <c:v>44945</c:v>
                </c:pt>
                <c:pt idx="379">
                  <c:v>44946</c:v>
                </c:pt>
                <c:pt idx="380">
                  <c:v>44949</c:v>
                </c:pt>
                <c:pt idx="381">
                  <c:v>44950</c:v>
                </c:pt>
                <c:pt idx="382">
                  <c:v>44951</c:v>
                </c:pt>
                <c:pt idx="383">
                  <c:v>44952</c:v>
                </c:pt>
                <c:pt idx="384">
                  <c:v>44953</c:v>
                </c:pt>
                <c:pt idx="385">
                  <c:v>44956</c:v>
                </c:pt>
                <c:pt idx="386">
                  <c:v>44957</c:v>
                </c:pt>
                <c:pt idx="387">
                  <c:v>44958</c:v>
                </c:pt>
                <c:pt idx="388">
                  <c:v>44959</c:v>
                </c:pt>
                <c:pt idx="389">
                  <c:v>44960</c:v>
                </c:pt>
                <c:pt idx="390">
                  <c:v>44963</c:v>
                </c:pt>
                <c:pt idx="391">
                  <c:v>44964</c:v>
                </c:pt>
                <c:pt idx="392">
                  <c:v>44965</c:v>
                </c:pt>
                <c:pt idx="393">
                  <c:v>44966</c:v>
                </c:pt>
                <c:pt idx="394">
                  <c:v>44967</c:v>
                </c:pt>
                <c:pt idx="395">
                  <c:v>44970</c:v>
                </c:pt>
                <c:pt idx="396">
                  <c:v>44971</c:v>
                </c:pt>
                <c:pt idx="397">
                  <c:v>44972</c:v>
                </c:pt>
                <c:pt idx="398">
                  <c:v>44973</c:v>
                </c:pt>
                <c:pt idx="399">
                  <c:v>44974</c:v>
                </c:pt>
                <c:pt idx="400">
                  <c:v>44977</c:v>
                </c:pt>
                <c:pt idx="401">
                  <c:v>44978</c:v>
                </c:pt>
                <c:pt idx="402">
                  <c:v>44979</c:v>
                </c:pt>
                <c:pt idx="403">
                  <c:v>44980</c:v>
                </c:pt>
                <c:pt idx="404">
                  <c:v>44981</c:v>
                </c:pt>
                <c:pt idx="405">
                  <c:v>44984</c:v>
                </c:pt>
                <c:pt idx="406">
                  <c:v>44985</c:v>
                </c:pt>
                <c:pt idx="407">
                  <c:v>44986</c:v>
                </c:pt>
                <c:pt idx="408">
                  <c:v>44987</c:v>
                </c:pt>
                <c:pt idx="409">
                  <c:v>44988</c:v>
                </c:pt>
                <c:pt idx="410">
                  <c:v>44991</c:v>
                </c:pt>
                <c:pt idx="411">
                  <c:v>44992</c:v>
                </c:pt>
                <c:pt idx="412">
                  <c:v>44994</c:v>
                </c:pt>
                <c:pt idx="413">
                  <c:v>44995</c:v>
                </c:pt>
                <c:pt idx="414">
                  <c:v>44998</c:v>
                </c:pt>
                <c:pt idx="415">
                  <c:v>44999</c:v>
                </c:pt>
                <c:pt idx="416">
                  <c:v>45000</c:v>
                </c:pt>
                <c:pt idx="417">
                  <c:v>45001</c:v>
                </c:pt>
                <c:pt idx="418">
                  <c:v>45002</c:v>
                </c:pt>
                <c:pt idx="419">
                  <c:v>45005</c:v>
                </c:pt>
                <c:pt idx="420">
                  <c:v>45009</c:v>
                </c:pt>
                <c:pt idx="421">
                  <c:v>45012</c:v>
                </c:pt>
                <c:pt idx="422">
                  <c:v>45013</c:v>
                </c:pt>
                <c:pt idx="423">
                  <c:v>45014</c:v>
                </c:pt>
                <c:pt idx="424">
                  <c:v>45015</c:v>
                </c:pt>
                <c:pt idx="425">
                  <c:v>45016</c:v>
                </c:pt>
                <c:pt idx="426">
                  <c:v>45019</c:v>
                </c:pt>
                <c:pt idx="427">
                  <c:v>45020</c:v>
                </c:pt>
                <c:pt idx="428">
                  <c:v>45021</c:v>
                </c:pt>
                <c:pt idx="429">
                  <c:v>45022</c:v>
                </c:pt>
                <c:pt idx="430">
                  <c:v>45023</c:v>
                </c:pt>
                <c:pt idx="431">
                  <c:v>45026</c:v>
                </c:pt>
                <c:pt idx="432">
                  <c:v>45027</c:v>
                </c:pt>
                <c:pt idx="433">
                  <c:v>45028</c:v>
                </c:pt>
                <c:pt idx="434">
                  <c:v>45029</c:v>
                </c:pt>
                <c:pt idx="435">
                  <c:v>45030</c:v>
                </c:pt>
                <c:pt idx="436">
                  <c:v>45033</c:v>
                </c:pt>
                <c:pt idx="437">
                  <c:v>45034</c:v>
                </c:pt>
                <c:pt idx="438">
                  <c:v>45035</c:v>
                </c:pt>
                <c:pt idx="439">
                  <c:v>45036</c:v>
                </c:pt>
                <c:pt idx="440">
                  <c:v>45037</c:v>
                </c:pt>
                <c:pt idx="441">
                  <c:v>45040</c:v>
                </c:pt>
                <c:pt idx="442">
                  <c:v>45041</c:v>
                </c:pt>
                <c:pt idx="443">
                  <c:v>45042</c:v>
                </c:pt>
                <c:pt idx="444">
                  <c:v>45043</c:v>
                </c:pt>
                <c:pt idx="445">
                  <c:v>45044</c:v>
                </c:pt>
                <c:pt idx="446">
                  <c:v>45048</c:v>
                </c:pt>
                <c:pt idx="447">
                  <c:v>45049</c:v>
                </c:pt>
                <c:pt idx="448">
                  <c:v>45050</c:v>
                </c:pt>
                <c:pt idx="449">
                  <c:v>45051</c:v>
                </c:pt>
                <c:pt idx="450">
                  <c:v>45056</c:v>
                </c:pt>
                <c:pt idx="451">
                  <c:v>45057</c:v>
                </c:pt>
                <c:pt idx="452">
                  <c:v>45058</c:v>
                </c:pt>
                <c:pt idx="453">
                  <c:v>45061</c:v>
                </c:pt>
                <c:pt idx="454">
                  <c:v>45062</c:v>
                </c:pt>
                <c:pt idx="455">
                  <c:v>45063</c:v>
                </c:pt>
                <c:pt idx="456">
                  <c:v>45064</c:v>
                </c:pt>
                <c:pt idx="457">
                  <c:v>45065</c:v>
                </c:pt>
                <c:pt idx="458">
                  <c:v>45068</c:v>
                </c:pt>
                <c:pt idx="459">
                  <c:v>45069</c:v>
                </c:pt>
                <c:pt idx="460">
                  <c:v>45070</c:v>
                </c:pt>
                <c:pt idx="461">
                  <c:v>45071</c:v>
                </c:pt>
                <c:pt idx="462">
                  <c:v>45072</c:v>
                </c:pt>
                <c:pt idx="463">
                  <c:v>45075</c:v>
                </c:pt>
                <c:pt idx="464">
                  <c:v>45076</c:v>
                </c:pt>
                <c:pt idx="465">
                  <c:v>45077</c:v>
                </c:pt>
                <c:pt idx="466">
                  <c:v>45078</c:v>
                </c:pt>
                <c:pt idx="467">
                  <c:v>45079</c:v>
                </c:pt>
                <c:pt idx="468">
                  <c:v>45082</c:v>
                </c:pt>
                <c:pt idx="469">
                  <c:v>45083</c:v>
                </c:pt>
                <c:pt idx="470">
                  <c:v>45084</c:v>
                </c:pt>
                <c:pt idx="471">
                  <c:v>45085</c:v>
                </c:pt>
                <c:pt idx="472">
                  <c:v>45086</c:v>
                </c:pt>
                <c:pt idx="473">
                  <c:v>45089</c:v>
                </c:pt>
                <c:pt idx="474">
                  <c:v>45090</c:v>
                </c:pt>
                <c:pt idx="475">
                  <c:v>45091</c:v>
                </c:pt>
                <c:pt idx="476">
                  <c:v>45092</c:v>
                </c:pt>
                <c:pt idx="477">
                  <c:v>45093</c:v>
                </c:pt>
                <c:pt idx="478">
                  <c:v>45096</c:v>
                </c:pt>
                <c:pt idx="479">
                  <c:v>45097</c:v>
                </c:pt>
                <c:pt idx="480">
                  <c:v>45098</c:v>
                </c:pt>
                <c:pt idx="481">
                  <c:v>45099</c:v>
                </c:pt>
                <c:pt idx="482">
                  <c:v>45100</c:v>
                </c:pt>
                <c:pt idx="483">
                  <c:v>45103</c:v>
                </c:pt>
                <c:pt idx="484">
                  <c:v>45104</c:v>
                </c:pt>
                <c:pt idx="485">
                  <c:v>45106</c:v>
                </c:pt>
                <c:pt idx="486">
                  <c:v>45107</c:v>
                </c:pt>
                <c:pt idx="487">
                  <c:v>45110</c:v>
                </c:pt>
                <c:pt idx="488">
                  <c:v>45111</c:v>
                </c:pt>
                <c:pt idx="489">
                  <c:v>45112</c:v>
                </c:pt>
                <c:pt idx="490">
                  <c:v>45117</c:v>
                </c:pt>
                <c:pt idx="491">
                  <c:v>45118</c:v>
                </c:pt>
                <c:pt idx="492">
                  <c:v>45119</c:v>
                </c:pt>
                <c:pt idx="493">
                  <c:v>45120</c:v>
                </c:pt>
                <c:pt idx="494">
                  <c:v>45121</c:v>
                </c:pt>
                <c:pt idx="495">
                  <c:v>45124</c:v>
                </c:pt>
                <c:pt idx="496">
                  <c:v>45125</c:v>
                </c:pt>
                <c:pt idx="497">
                  <c:v>45126</c:v>
                </c:pt>
                <c:pt idx="498">
                  <c:v>45127</c:v>
                </c:pt>
                <c:pt idx="499">
                  <c:v>45128</c:v>
                </c:pt>
                <c:pt idx="500">
                  <c:v>45131</c:v>
                </c:pt>
                <c:pt idx="501">
                  <c:v>45132</c:v>
                </c:pt>
                <c:pt idx="502">
                  <c:v>45133</c:v>
                </c:pt>
                <c:pt idx="503">
                  <c:v>45134</c:v>
                </c:pt>
                <c:pt idx="504">
                  <c:v>45135</c:v>
                </c:pt>
                <c:pt idx="505">
                  <c:v>45138</c:v>
                </c:pt>
                <c:pt idx="506">
                  <c:v>45139</c:v>
                </c:pt>
                <c:pt idx="507">
                  <c:v>45140</c:v>
                </c:pt>
                <c:pt idx="508">
                  <c:v>45141</c:v>
                </c:pt>
                <c:pt idx="509">
                  <c:v>45142</c:v>
                </c:pt>
                <c:pt idx="510">
                  <c:v>45145</c:v>
                </c:pt>
                <c:pt idx="511">
                  <c:v>45146</c:v>
                </c:pt>
                <c:pt idx="512">
                  <c:v>45147</c:v>
                </c:pt>
                <c:pt idx="513">
                  <c:v>45148</c:v>
                </c:pt>
                <c:pt idx="514">
                  <c:v>45149</c:v>
                </c:pt>
                <c:pt idx="515">
                  <c:v>45152</c:v>
                </c:pt>
                <c:pt idx="516">
                  <c:v>45153</c:v>
                </c:pt>
                <c:pt idx="517">
                  <c:v>45154</c:v>
                </c:pt>
                <c:pt idx="518">
                  <c:v>45155</c:v>
                </c:pt>
                <c:pt idx="519">
                  <c:v>45156</c:v>
                </c:pt>
                <c:pt idx="520">
                  <c:v>45159</c:v>
                </c:pt>
                <c:pt idx="521">
                  <c:v>45160</c:v>
                </c:pt>
                <c:pt idx="522">
                  <c:v>45161</c:v>
                </c:pt>
                <c:pt idx="523">
                  <c:v>45162</c:v>
                </c:pt>
                <c:pt idx="524">
                  <c:v>45163</c:v>
                </c:pt>
                <c:pt idx="525">
                  <c:v>45166</c:v>
                </c:pt>
                <c:pt idx="526">
                  <c:v>45167</c:v>
                </c:pt>
                <c:pt idx="527">
                  <c:v>45169</c:v>
                </c:pt>
                <c:pt idx="528">
                  <c:v>45170</c:v>
                </c:pt>
                <c:pt idx="529">
                  <c:v>45173</c:v>
                </c:pt>
                <c:pt idx="530">
                  <c:v>45174</c:v>
                </c:pt>
                <c:pt idx="531">
                  <c:v>45175</c:v>
                </c:pt>
                <c:pt idx="532">
                  <c:v>45176</c:v>
                </c:pt>
                <c:pt idx="533">
                  <c:v>45177</c:v>
                </c:pt>
                <c:pt idx="534">
                  <c:v>45180</c:v>
                </c:pt>
                <c:pt idx="535">
                  <c:v>45181</c:v>
                </c:pt>
                <c:pt idx="536">
                  <c:v>45182</c:v>
                </c:pt>
                <c:pt idx="537">
                  <c:v>45183</c:v>
                </c:pt>
                <c:pt idx="538">
                  <c:v>45184</c:v>
                </c:pt>
                <c:pt idx="539">
                  <c:v>45187</c:v>
                </c:pt>
                <c:pt idx="540">
                  <c:v>45188</c:v>
                </c:pt>
                <c:pt idx="541">
                  <c:v>45189</c:v>
                </c:pt>
                <c:pt idx="542">
                  <c:v>45190</c:v>
                </c:pt>
                <c:pt idx="543">
                  <c:v>45191</c:v>
                </c:pt>
                <c:pt idx="544">
                  <c:v>45194</c:v>
                </c:pt>
                <c:pt idx="545">
                  <c:v>45195</c:v>
                </c:pt>
                <c:pt idx="546">
                  <c:v>45196</c:v>
                </c:pt>
                <c:pt idx="547">
                  <c:v>45197</c:v>
                </c:pt>
                <c:pt idx="548">
                  <c:v>45198</c:v>
                </c:pt>
                <c:pt idx="549">
                  <c:v>45201</c:v>
                </c:pt>
                <c:pt idx="550">
                  <c:v>45202</c:v>
                </c:pt>
                <c:pt idx="551">
                  <c:v>45203</c:v>
                </c:pt>
                <c:pt idx="552">
                  <c:v>45204</c:v>
                </c:pt>
                <c:pt idx="553">
                  <c:v>45205</c:v>
                </c:pt>
                <c:pt idx="554">
                  <c:v>45208</c:v>
                </c:pt>
                <c:pt idx="555">
                  <c:v>45209</c:v>
                </c:pt>
                <c:pt idx="556">
                  <c:v>45210</c:v>
                </c:pt>
                <c:pt idx="557">
                  <c:v>45211</c:v>
                </c:pt>
                <c:pt idx="558">
                  <c:v>45212</c:v>
                </c:pt>
                <c:pt idx="559">
                  <c:v>45215</c:v>
                </c:pt>
                <c:pt idx="560">
                  <c:v>45216</c:v>
                </c:pt>
                <c:pt idx="561">
                  <c:v>45217</c:v>
                </c:pt>
                <c:pt idx="562">
                  <c:v>45218</c:v>
                </c:pt>
                <c:pt idx="563">
                  <c:v>45219</c:v>
                </c:pt>
                <c:pt idx="564">
                  <c:v>45222</c:v>
                </c:pt>
                <c:pt idx="565">
                  <c:v>45223</c:v>
                </c:pt>
                <c:pt idx="566">
                  <c:v>45225</c:v>
                </c:pt>
                <c:pt idx="567">
                  <c:v>45226</c:v>
                </c:pt>
                <c:pt idx="568">
                  <c:v>45229</c:v>
                </c:pt>
                <c:pt idx="569">
                  <c:v>45230</c:v>
                </c:pt>
                <c:pt idx="570">
                  <c:v>45231</c:v>
                </c:pt>
                <c:pt idx="571">
                  <c:v>45232</c:v>
                </c:pt>
                <c:pt idx="572">
                  <c:v>45233</c:v>
                </c:pt>
                <c:pt idx="573">
                  <c:v>45236</c:v>
                </c:pt>
                <c:pt idx="574">
                  <c:v>45237</c:v>
                </c:pt>
                <c:pt idx="575">
                  <c:v>45238</c:v>
                </c:pt>
                <c:pt idx="576">
                  <c:v>45239</c:v>
                </c:pt>
                <c:pt idx="577">
                  <c:v>45240</c:v>
                </c:pt>
                <c:pt idx="578">
                  <c:v>45243</c:v>
                </c:pt>
                <c:pt idx="579">
                  <c:v>45244</c:v>
                </c:pt>
                <c:pt idx="580">
                  <c:v>45245</c:v>
                </c:pt>
                <c:pt idx="581">
                  <c:v>45246</c:v>
                </c:pt>
                <c:pt idx="582">
                  <c:v>45247</c:v>
                </c:pt>
                <c:pt idx="583">
                  <c:v>45250</c:v>
                </c:pt>
                <c:pt idx="584">
                  <c:v>45251</c:v>
                </c:pt>
                <c:pt idx="585">
                  <c:v>45252</c:v>
                </c:pt>
                <c:pt idx="586">
                  <c:v>45253</c:v>
                </c:pt>
                <c:pt idx="587">
                  <c:v>45254</c:v>
                </c:pt>
                <c:pt idx="588">
                  <c:v>45257</c:v>
                </c:pt>
                <c:pt idx="589">
                  <c:v>45258</c:v>
                </c:pt>
                <c:pt idx="590">
                  <c:v>45259</c:v>
                </c:pt>
                <c:pt idx="591">
                  <c:v>45260</c:v>
                </c:pt>
                <c:pt idx="592">
                  <c:v>45261</c:v>
                </c:pt>
                <c:pt idx="593">
                  <c:v>45264</c:v>
                </c:pt>
                <c:pt idx="594">
                  <c:v>45265</c:v>
                </c:pt>
                <c:pt idx="595">
                  <c:v>45266</c:v>
                </c:pt>
                <c:pt idx="596">
                  <c:v>45267</c:v>
                </c:pt>
                <c:pt idx="597">
                  <c:v>45268</c:v>
                </c:pt>
                <c:pt idx="598">
                  <c:v>45271</c:v>
                </c:pt>
                <c:pt idx="599">
                  <c:v>45272</c:v>
                </c:pt>
                <c:pt idx="600">
                  <c:v>45273</c:v>
                </c:pt>
                <c:pt idx="601">
                  <c:v>45274</c:v>
                </c:pt>
                <c:pt idx="602">
                  <c:v>45275</c:v>
                </c:pt>
                <c:pt idx="603">
                  <c:v>45279</c:v>
                </c:pt>
                <c:pt idx="604">
                  <c:v>45280</c:v>
                </c:pt>
                <c:pt idx="605">
                  <c:v>45281</c:v>
                </c:pt>
                <c:pt idx="606">
                  <c:v>45282</c:v>
                </c:pt>
                <c:pt idx="607">
                  <c:v>45285</c:v>
                </c:pt>
                <c:pt idx="608">
                  <c:v>45286</c:v>
                </c:pt>
                <c:pt idx="609">
                  <c:v>45287</c:v>
                </c:pt>
                <c:pt idx="610">
                  <c:v>45288</c:v>
                </c:pt>
                <c:pt idx="611">
                  <c:v>45289</c:v>
                </c:pt>
                <c:pt idx="612">
                  <c:v>45294</c:v>
                </c:pt>
                <c:pt idx="613">
                  <c:v>45295</c:v>
                </c:pt>
                <c:pt idx="614">
                  <c:v>45296</c:v>
                </c:pt>
                <c:pt idx="615">
                  <c:v>45299</c:v>
                </c:pt>
                <c:pt idx="616">
                  <c:v>45300</c:v>
                </c:pt>
                <c:pt idx="617">
                  <c:v>45301</c:v>
                </c:pt>
                <c:pt idx="618">
                  <c:v>45302</c:v>
                </c:pt>
                <c:pt idx="619">
                  <c:v>45303</c:v>
                </c:pt>
                <c:pt idx="620">
                  <c:v>45306</c:v>
                </c:pt>
                <c:pt idx="621">
                  <c:v>45307</c:v>
                </c:pt>
                <c:pt idx="622">
                  <c:v>45308</c:v>
                </c:pt>
                <c:pt idx="623">
                  <c:v>45309</c:v>
                </c:pt>
                <c:pt idx="624">
                  <c:v>45310</c:v>
                </c:pt>
                <c:pt idx="625">
                  <c:v>45313</c:v>
                </c:pt>
                <c:pt idx="626">
                  <c:v>45314</c:v>
                </c:pt>
                <c:pt idx="627">
                  <c:v>45315</c:v>
                </c:pt>
                <c:pt idx="628">
                  <c:v>45316</c:v>
                </c:pt>
                <c:pt idx="629">
                  <c:v>45317</c:v>
                </c:pt>
                <c:pt idx="630">
                  <c:v>45320</c:v>
                </c:pt>
                <c:pt idx="631">
                  <c:v>45321</c:v>
                </c:pt>
                <c:pt idx="632">
                  <c:v>45322</c:v>
                </c:pt>
                <c:pt idx="633">
                  <c:v>45323</c:v>
                </c:pt>
                <c:pt idx="634">
                  <c:v>45324</c:v>
                </c:pt>
                <c:pt idx="635">
                  <c:v>45327</c:v>
                </c:pt>
                <c:pt idx="636">
                  <c:v>45328</c:v>
                </c:pt>
                <c:pt idx="637">
                  <c:v>45329</c:v>
                </c:pt>
                <c:pt idx="638">
                  <c:v>45330</c:v>
                </c:pt>
                <c:pt idx="639">
                  <c:v>45331</c:v>
                </c:pt>
                <c:pt idx="640">
                  <c:v>45334</c:v>
                </c:pt>
                <c:pt idx="641">
                  <c:v>45335</c:v>
                </c:pt>
                <c:pt idx="642">
                  <c:v>45336</c:v>
                </c:pt>
                <c:pt idx="643">
                  <c:v>45337</c:v>
                </c:pt>
                <c:pt idx="644">
                  <c:v>45338</c:v>
                </c:pt>
                <c:pt idx="645">
                  <c:v>45341</c:v>
                </c:pt>
                <c:pt idx="646">
                  <c:v>45342</c:v>
                </c:pt>
                <c:pt idx="647">
                  <c:v>45343</c:v>
                </c:pt>
                <c:pt idx="648">
                  <c:v>45344</c:v>
                </c:pt>
                <c:pt idx="649">
                  <c:v>45345</c:v>
                </c:pt>
                <c:pt idx="650">
                  <c:v>45348</c:v>
                </c:pt>
                <c:pt idx="651">
                  <c:v>45349</c:v>
                </c:pt>
                <c:pt idx="652">
                  <c:v>45350</c:v>
                </c:pt>
                <c:pt idx="653">
                  <c:v>45351</c:v>
                </c:pt>
                <c:pt idx="654">
                  <c:v>45352</c:v>
                </c:pt>
                <c:pt idx="655">
                  <c:v>45355</c:v>
                </c:pt>
                <c:pt idx="656">
                  <c:v>45356</c:v>
                </c:pt>
                <c:pt idx="657">
                  <c:v>45357</c:v>
                </c:pt>
                <c:pt idx="658">
                  <c:v>45358</c:v>
                </c:pt>
                <c:pt idx="659">
                  <c:v>45362</c:v>
                </c:pt>
                <c:pt idx="660">
                  <c:v>45363</c:v>
                </c:pt>
                <c:pt idx="661">
                  <c:v>45364</c:v>
                </c:pt>
                <c:pt idx="662">
                  <c:v>45365</c:v>
                </c:pt>
                <c:pt idx="663">
                  <c:v>45366</c:v>
                </c:pt>
                <c:pt idx="664">
                  <c:v>45369</c:v>
                </c:pt>
                <c:pt idx="665">
                  <c:v>45370</c:v>
                </c:pt>
                <c:pt idx="666">
                  <c:v>45371</c:v>
                </c:pt>
                <c:pt idx="667">
                  <c:v>45377</c:v>
                </c:pt>
                <c:pt idx="668">
                  <c:v>45378</c:v>
                </c:pt>
                <c:pt idx="669">
                  <c:v>45379</c:v>
                </c:pt>
                <c:pt idx="670">
                  <c:v>45380</c:v>
                </c:pt>
                <c:pt idx="671">
                  <c:v>45383</c:v>
                </c:pt>
                <c:pt idx="672">
                  <c:v>45384</c:v>
                </c:pt>
                <c:pt idx="673">
                  <c:v>45385</c:v>
                </c:pt>
                <c:pt idx="674">
                  <c:v>45386</c:v>
                </c:pt>
                <c:pt idx="675">
                  <c:v>45387</c:v>
                </c:pt>
                <c:pt idx="676">
                  <c:v>45390</c:v>
                </c:pt>
                <c:pt idx="677">
                  <c:v>45391</c:v>
                </c:pt>
                <c:pt idx="678">
                  <c:v>45392</c:v>
                </c:pt>
                <c:pt idx="679">
                  <c:v>45393</c:v>
                </c:pt>
                <c:pt idx="680">
                  <c:v>45394</c:v>
                </c:pt>
                <c:pt idx="681">
                  <c:v>45397</c:v>
                </c:pt>
                <c:pt idx="682">
                  <c:v>45398</c:v>
                </c:pt>
                <c:pt idx="683">
                  <c:v>45399</c:v>
                </c:pt>
                <c:pt idx="684">
                  <c:v>45400</c:v>
                </c:pt>
                <c:pt idx="685">
                  <c:v>45401</c:v>
                </c:pt>
                <c:pt idx="686">
                  <c:v>45404</c:v>
                </c:pt>
                <c:pt idx="687">
                  <c:v>45405</c:v>
                </c:pt>
                <c:pt idx="688">
                  <c:v>45406</c:v>
                </c:pt>
                <c:pt idx="689">
                  <c:v>45407</c:v>
                </c:pt>
                <c:pt idx="690">
                  <c:v>45408</c:v>
                </c:pt>
                <c:pt idx="691">
                  <c:v>45411</c:v>
                </c:pt>
                <c:pt idx="692">
                  <c:v>45412</c:v>
                </c:pt>
                <c:pt idx="693">
                  <c:v>45414</c:v>
                </c:pt>
                <c:pt idx="694">
                  <c:v>45415</c:v>
                </c:pt>
                <c:pt idx="695">
                  <c:v>45418</c:v>
                </c:pt>
                <c:pt idx="696">
                  <c:v>45422</c:v>
                </c:pt>
                <c:pt idx="697">
                  <c:v>45425</c:v>
                </c:pt>
                <c:pt idx="698">
                  <c:v>45426</c:v>
                </c:pt>
                <c:pt idx="699">
                  <c:v>45427</c:v>
                </c:pt>
                <c:pt idx="700">
                  <c:v>45428</c:v>
                </c:pt>
                <c:pt idx="701">
                  <c:v>45429</c:v>
                </c:pt>
                <c:pt idx="702">
                  <c:v>45432</c:v>
                </c:pt>
                <c:pt idx="703">
                  <c:v>45433</c:v>
                </c:pt>
                <c:pt idx="704">
                  <c:v>45434</c:v>
                </c:pt>
                <c:pt idx="705">
                  <c:v>45435</c:v>
                </c:pt>
                <c:pt idx="706">
                  <c:v>45436</c:v>
                </c:pt>
                <c:pt idx="707">
                  <c:v>45439</c:v>
                </c:pt>
                <c:pt idx="708">
                  <c:v>45440</c:v>
                </c:pt>
                <c:pt idx="709">
                  <c:v>45441</c:v>
                </c:pt>
                <c:pt idx="710">
                  <c:v>45442</c:v>
                </c:pt>
                <c:pt idx="711">
                  <c:v>45443</c:v>
                </c:pt>
                <c:pt idx="712">
                  <c:v>45446</c:v>
                </c:pt>
                <c:pt idx="713">
                  <c:v>45447</c:v>
                </c:pt>
                <c:pt idx="714">
                  <c:v>45448</c:v>
                </c:pt>
                <c:pt idx="715">
                  <c:v>45449</c:v>
                </c:pt>
                <c:pt idx="716">
                  <c:v>45450</c:v>
                </c:pt>
                <c:pt idx="717">
                  <c:v>45453</c:v>
                </c:pt>
                <c:pt idx="718">
                  <c:v>45454</c:v>
                </c:pt>
                <c:pt idx="719">
                  <c:v>45455</c:v>
                </c:pt>
                <c:pt idx="720">
                  <c:v>45456</c:v>
                </c:pt>
                <c:pt idx="721">
                  <c:v>45457</c:v>
                </c:pt>
                <c:pt idx="722">
                  <c:v>45460</c:v>
                </c:pt>
                <c:pt idx="723">
                  <c:v>45461</c:v>
                </c:pt>
                <c:pt idx="724">
                  <c:v>45462</c:v>
                </c:pt>
                <c:pt idx="725">
                  <c:v>45463</c:v>
                </c:pt>
                <c:pt idx="726">
                  <c:v>45464</c:v>
                </c:pt>
                <c:pt idx="727">
                  <c:v>45467</c:v>
                </c:pt>
                <c:pt idx="728">
                  <c:v>45468</c:v>
                </c:pt>
                <c:pt idx="729">
                  <c:v>45469</c:v>
                </c:pt>
                <c:pt idx="730">
                  <c:v>45470</c:v>
                </c:pt>
                <c:pt idx="731">
                  <c:v>45471</c:v>
                </c:pt>
                <c:pt idx="732">
                  <c:v>45474</c:v>
                </c:pt>
                <c:pt idx="733">
                  <c:v>45475</c:v>
                </c:pt>
                <c:pt idx="734">
                  <c:v>45476</c:v>
                </c:pt>
                <c:pt idx="735">
                  <c:v>45477</c:v>
                </c:pt>
                <c:pt idx="736">
                  <c:v>45478</c:v>
                </c:pt>
                <c:pt idx="737">
                  <c:v>45482</c:v>
                </c:pt>
                <c:pt idx="738">
                  <c:v>45483</c:v>
                </c:pt>
                <c:pt idx="739">
                  <c:v>45484</c:v>
                </c:pt>
                <c:pt idx="740">
                  <c:v>45485</c:v>
                </c:pt>
                <c:pt idx="741">
                  <c:v>45488</c:v>
                </c:pt>
                <c:pt idx="742">
                  <c:v>45489</c:v>
                </c:pt>
                <c:pt idx="743">
                  <c:v>45490</c:v>
                </c:pt>
                <c:pt idx="744">
                  <c:v>45491</c:v>
                </c:pt>
                <c:pt idx="745">
                  <c:v>45492</c:v>
                </c:pt>
                <c:pt idx="746">
                  <c:v>45495</c:v>
                </c:pt>
                <c:pt idx="747">
                  <c:v>45496</c:v>
                </c:pt>
                <c:pt idx="748">
                  <c:v>45497</c:v>
                </c:pt>
                <c:pt idx="749">
                  <c:v>45498</c:v>
                </c:pt>
                <c:pt idx="750">
                  <c:v>45499</c:v>
                </c:pt>
                <c:pt idx="751">
                  <c:v>45502</c:v>
                </c:pt>
                <c:pt idx="752">
                  <c:v>45503</c:v>
                </c:pt>
                <c:pt idx="753">
                  <c:v>45504</c:v>
                </c:pt>
                <c:pt idx="754">
                  <c:v>45505</c:v>
                </c:pt>
                <c:pt idx="755">
                  <c:v>45506</c:v>
                </c:pt>
                <c:pt idx="756">
                  <c:v>45509</c:v>
                </c:pt>
                <c:pt idx="757">
                  <c:v>45510</c:v>
                </c:pt>
                <c:pt idx="758">
                  <c:v>45511</c:v>
                </c:pt>
                <c:pt idx="759">
                  <c:v>45512</c:v>
                </c:pt>
                <c:pt idx="760">
                  <c:v>45513</c:v>
                </c:pt>
                <c:pt idx="761">
                  <c:v>45516</c:v>
                </c:pt>
                <c:pt idx="762">
                  <c:v>45517</c:v>
                </c:pt>
                <c:pt idx="763">
                  <c:v>45518</c:v>
                </c:pt>
                <c:pt idx="764">
                  <c:v>45519</c:v>
                </c:pt>
                <c:pt idx="765">
                  <c:v>45520</c:v>
                </c:pt>
                <c:pt idx="766">
                  <c:v>45523</c:v>
                </c:pt>
                <c:pt idx="767">
                  <c:v>45524</c:v>
                </c:pt>
                <c:pt idx="768">
                  <c:v>45525</c:v>
                </c:pt>
                <c:pt idx="769">
                  <c:v>45526</c:v>
                </c:pt>
                <c:pt idx="770">
                  <c:v>45527</c:v>
                </c:pt>
                <c:pt idx="771">
                  <c:v>45530</c:v>
                </c:pt>
                <c:pt idx="772">
                  <c:v>45531</c:v>
                </c:pt>
                <c:pt idx="773">
                  <c:v>45532</c:v>
                </c:pt>
                <c:pt idx="774">
                  <c:v>45533</c:v>
                </c:pt>
                <c:pt idx="775">
                  <c:v>45537</c:v>
                </c:pt>
                <c:pt idx="776">
                  <c:v>45538</c:v>
                </c:pt>
                <c:pt idx="777">
                  <c:v>45539</c:v>
                </c:pt>
                <c:pt idx="778">
                  <c:v>45540</c:v>
                </c:pt>
                <c:pt idx="779">
                  <c:v>45541</c:v>
                </c:pt>
                <c:pt idx="780">
                  <c:v>45544</c:v>
                </c:pt>
                <c:pt idx="781">
                  <c:v>45545</c:v>
                </c:pt>
                <c:pt idx="782">
                  <c:v>45546</c:v>
                </c:pt>
                <c:pt idx="783">
                  <c:v>45547</c:v>
                </c:pt>
                <c:pt idx="784">
                  <c:v>45548</c:v>
                </c:pt>
                <c:pt idx="785">
                  <c:v>45551</c:v>
                </c:pt>
                <c:pt idx="786">
                  <c:v>45552</c:v>
                </c:pt>
                <c:pt idx="787">
                  <c:v>45553</c:v>
                </c:pt>
                <c:pt idx="788">
                  <c:v>45554</c:v>
                </c:pt>
                <c:pt idx="789">
                  <c:v>45555</c:v>
                </c:pt>
                <c:pt idx="790">
                  <c:v>45558</c:v>
                </c:pt>
                <c:pt idx="791">
                  <c:v>45559</c:v>
                </c:pt>
                <c:pt idx="792">
                  <c:v>45560</c:v>
                </c:pt>
                <c:pt idx="793">
                  <c:v>45561</c:v>
                </c:pt>
                <c:pt idx="794">
                  <c:v>45562</c:v>
                </c:pt>
                <c:pt idx="795">
                  <c:v>45565</c:v>
                </c:pt>
                <c:pt idx="796">
                  <c:v>45566</c:v>
                </c:pt>
                <c:pt idx="797">
                  <c:v>45567</c:v>
                </c:pt>
                <c:pt idx="798">
                  <c:v>45568</c:v>
                </c:pt>
                <c:pt idx="799">
                  <c:v>45569</c:v>
                </c:pt>
                <c:pt idx="800">
                  <c:v>45572</c:v>
                </c:pt>
                <c:pt idx="801">
                  <c:v>45573</c:v>
                </c:pt>
                <c:pt idx="802">
                  <c:v>45574</c:v>
                </c:pt>
                <c:pt idx="803">
                  <c:v>45575</c:v>
                </c:pt>
                <c:pt idx="804">
                  <c:v>45576</c:v>
                </c:pt>
                <c:pt idx="805">
                  <c:v>45579</c:v>
                </c:pt>
                <c:pt idx="806">
                  <c:v>45580</c:v>
                </c:pt>
                <c:pt idx="807">
                  <c:v>45581</c:v>
                </c:pt>
                <c:pt idx="808">
                  <c:v>45582</c:v>
                </c:pt>
                <c:pt idx="809">
                  <c:v>45583</c:v>
                </c:pt>
                <c:pt idx="810">
                  <c:v>45586</c:v>
                </c:pt>
                <c:pt idx="811">
                  <c:v>45587</c:v>
                </c:pt>
                <c:pt idx="812">
                  <c:v>45588</c:v>
                </c:pt>
                <c:pt idx="813">
                  <c:v>45589</c:v>
                </c:pt>
                <c:pt idx="814">
                  <c:v>45593</c:v>
                </c:pt>
                <c:pt idx="815">
                  <c:v>45594</c:v>
                </c:pt>
                <c:pt idx="816">
                  <c:v>45595</c:v>
                </c:pt>
                <c:pt idx="817">
                  <c:v>45596</c:v>
                </c:pt>
                <c:pt idx="818">
                  <c:v>45597</c:v>
                </c:pt>
                <c:pt idx="819">
                  <c:v>45600</c:v>
                </c:pt>
                <c:pt idx="820">
                  <c:v>45601</c:v>
                </c:pt>
                <c:pt idx="821">
                  <c:v>45602</c:v>
                </c:pt>
                <c:pt idx="822">
                  <c:v>45603</c:v>
                </c:pt>
                <c:pt idx="823">
                  <c:v>45604</c:v>
                </c:pt>
                <c:pt idx="824">
                  <c:v>45607</c:v>
                </c:pt>
                <c:pt idx="825">
                  <c:v>45608</c:v>
                </c:pt>
                <c:pt idx="826">
                  <c:v>45609</c:v>
                </c:pt>
                <c:pt idx="827">
                  <c:v>45610</c:v>
                </c:pt>
                <c:pt idx="828">
                  <c:v>45611</c:v>
                </c:pt>
                <c:pt idx="829">
                  <c:v>45614</c:v>
                </c:pt>
                <c:pt idx="830">
                  <c:v>45615</c:v>
                </c:pt>
                <c:pt idx="831">
                  <c:v>45616</c:v>
                </c:pt>
                <c:pt idx="832">
                  <c:v>45617</c:v>
                </c:pt>
                <c:pt idx="833">
                  <c:v>45618</c:v>
                </c:pt>
                <c:pt idx="834">
                  <c:v>45621</c:v>
                </c:pt>
                <c:pt idx="835">
                  <c:v>45622</c:v>
                </c:pt>
                <c:pt idx="836">
                  <c:v>45623</c:v>
                </c:pt>
                <c:pt idx="837">
                  <c:v>45624</c:v>
                </c:pt>
                <c:pt idx="838">
                  <c:v>45625</c:v>
                </c:pt>
                <c:pt idx="839">
                  <c:v>45663</c:v>
                </c:pt>
                <c:pt idx="840">
                  <c:v>45665</c:v>
                </c:pt>
                <c:pt idx="841">
                  <c:v>45666</c:v>
                </c:pt>
                <c:pt idx="842">
                  <c:v>45667</c:v>
                </c:pt>
                <c:pt idx="843">
                  <c:v>45670</c:v>
                </c:pt>
                <c:pt idx="844">
                  <c:v>45671</c:v>
                </c:pt>
                <c:pt idx="845">
                  <c:v>45672</c:v>
                </c:pt>
                <c:pt idx="846">
                  <c:v>45673</c:v>
                </c:pt>
                <c:pt idx="847">
                  <c:v>45674</c:v>
                </c:pt>
                <c:pt idx="848">
                  <c:v>45677</c:v>
                </c:pt>
                <c:pt idx="849">
                  <c:v>45678</c:v>
                </c:pt>
                <c:pt idx="850">
                  <c:v>45679</c:v>
                </c:pt>
                <c:pt idx="851">
                  <c:v>45680</c:v>
                </c:pt>
                <c:pt idx="852">
                  <c:v>45681</c:v>
                </c:pt>
                <c:pt idx="853">
                  <c:v>45684</c:v>
                </c:pt>
                <c:pt idx="854">
                  <c:v>45685</c:v>
                </c:pt>
                <c:pt idx="855">
                  <c:v>45686</c:v>
                </c:pt>
                <c:pt idx="856">
                  <c:v>45687</c:v>
                </c:pt>
                <c:pt idx="857">
                  <c:v>45688</c:v>
                </c:pt>
                <c:pt idx="858">
                  <c:v>45691</c:v>
                </c:pt>
                <c:pt idx="859">
                  <c:v>45692</c:v>
                </c:pt>
                <c:pt idx="860">
                  <c:v>45693</c:v>
                </c:pt>
                <c:pt idx="861">
                  <c:v>45694</c:v>
                </c:pt>
                <c:pt idx="862">
                  <c:v>45695</c:v>
                </c:pt>
                <c:pt idx="863">
                  <c:v>45698</c:v>
                </c:pt>
                <c:pt idx="864">
                  <c:v>45699</c:v>
                </c:pt>
                <c:pt idx="865">
                  <c:v>45700</c:v>
                </c:pt>
                <c:pt idx="866">
                  <c:v>45701</c:v>
                </c:pt>
                <c:pt idx="867">
                  <c:v>45702</c:v>
                </c:pt>
                <c:pt idx="868">
                  <c:v>45705</c:v>
                </c:pt>
                <c:pt idx="869">
                  <c:v>45706</c:v>
                </c:pt>
                <c:pt idx="870">
                  <c:v>45707</c:v>
                </c:pt>
                <c:pt idx="871">
                  <c:v>45708</c:v>
                </c:pt>
                <c:pt idx="872">
                  <c:v>45709</c:v>
                </c:pt>
                <c:pt idx="873">
                  <c:v>45712</c:v>
                </c:pt>
                <c:pt idx="874">
                  <c:v>45713</c:v>
                </c:pt>
                <c:pt idx="875">
                  <c:v>45714</c:v>
                </c:pt>
                <c:pt idx="876">
                  <c:v>45715</c:v>
                </c:pt>
                <c:pt idx="877">
                  <c:v>45716</c:v>
                </c:pt>
                <c:pt idx="878">
                  <c:v>45719</c:v>
                </c:pt>
                <c:pt idx="879">
                  <c:v>45720</c:v>
                </c:pt>
                <c:pt idx="880">
                  <c:v>45721</c:v>
                </c:pt>
                <c:pt idx="881">
                  <c:v>45722</c:v>
                </c:pt>
                <c:pt idx="882">
                  <c:v>45723</c:v>
                </c:pt>
                <c:pt idx="883">
                  <c:v>45727</c:v>
                </c:pt>
                <c:pt idx="884">
                  <c:v>45728</c:v>
                </c:pt>
                <c:pt idx="885">
                  <c:v>45729</c:v>
                </c:pt>
                <c:pt idx="886">
                  <c:v>45730</c:v>
                </c:pt>
                <c:pt idx="887">
                  <c:v>45733</c:v>
                </c:pt>
                <c:pt idx="888">
                  <c:v>45734</c:v>
                </c:pt>
                <c:pt idx="889">
                  <c:v>45735</c:v>
                </c:pt>
                <c:pt idx="890">
                  <c:v>45736</c:v>
                </c:pt>
                <c:pt idx="891">
                  <c:v>45742</c:v>
                </c:pt>
                <c:pt idx="892">
                  <c:v>45743</c:v>
                </c:pt>
                <c:pt idx="893">
                  <c:v>45744</c:v>
                </c:pt>
                <c:pt idx="894">
                  <c:v>45747</c:v>
                </c:pt>
                <c:pt idx="895">
                  <c:v>45748</c:v>
                </c:pt>
                <c:pt idx="896">
                  <c:v>45749</c:v>
                </c:pt>
                <c:pt idx="897">
                  <c:v>45750</c:v>
                </c:pt>
                <c:pt idx="898">
                  <c:v>45751</c:v>
                </c:pt>
                <c:pt idx="899">
                  <c:v>45754</c:v>
                </c:pt>
                <c:pt idx="900">
                  <c:v>45755</c:v>
                </c:pt>
                <c:pt idx="901">
                  <c:v>45756</c:v>
                </c:pt>
                <c:pt idx="902">
                  <c:v>45757</c:v>
                </c:pt>
                <c:pt idx="903">
                  <c:v>45758</c:v>
                </c:pt>
                <c:pt idx="904">
                  <c:v>45761</c:v>
                </c:pt>
                <c:pt idx="905">
                  <c:v>45762</c:v>
                </c:pt>
                <c:pt idx="906">
                  <c:v>45763</c:v>
                </c:pt>
                <c:pt idx="907">
                  <c:v>45764</c:v>
                </c:pt>
                <c:pt idx="908">
                  <c:v>45765</c:v>
                </c:pt>
                <c:pt idx="909">
                  <c:v>45768</c:v>
                </c:pt>
                <c:pt idx="910">
                  <c:v>45769</c:v>
                </c:pt>
                <c:pt idx="911">
                  <c:v>45770</c:v>
                </c:pt>
                <c:pt idx="912">
                  <c:v>45771</c:v>
                </c:pt>
                <c:pt idx="913">
                  <c:v>45772</c:v>
                </c:pt>
                <c:pt idx="914">
                  <c:v>45775</c:v>
                </c:pt>
                <c:pt idx="915">
                  <c:v>45776</c:v>
                </c:pt>
                <c:pt idx="916">
                  <c:v>45777</c:v>
                </c:pt>
                <c:pt idx="917">
                  <c:v>45779</c:v>
                </c:pt>
                <c:pt idx="918">
                  <c:v>45782</c:v>
                </c:pt>
                <c:pt idx="919">
                  <c:v>45783</c:v>
                </c:pt>
                <c:pt idx="920">
                  <c:v>45785</c:v>
                </c:pt>
                <c:pt idx="921">
                  <c:v>45789</c:v>
                </c:pt>
                <c:pt idx="922">
                  <c:v>45790</c:v>
                </c:pt>
                <c:pt idx="923">
                  <c:v>45791</c:v>
                </c:pt>
                <c:pt idx="924">
                  <c:v>45792</c:v>
                </c:pt>
                <c:pt idx="925">
                  <c:v>45793</c:v>
                </c:pt>
                <c:pt idx="926">
                  <c:v>45796</c:v>
                </c:pt>
                <c:pt idx="927">
                  <c:v>45797</c:v>
                </c:pt>
                <c:pt idx="928">
                  <c:v>45798</c:v>
                </c:pt>
                <c:pt idx="929">
                  <c:v>45799</c:v>
                </c:pt>
                <c:pt idx="930">
                  <c:v>45800</c:v>
                </c:pt>
                <c:pt idx="931">
                  <c:v>45803</c:v>
                </c:pt>
                <c:pt idx="932">
                  <c:v>45804</c:v>
                </c:pt>
                <c:pt idx="933">
                  <c:v>45805</c:v>
                </c:pt>
                <c:pt idx="934">
                  <c:v>45806</c:v>
                </c:pt>
                <c:pt idx="935">
                  <c:v>45807</c:v>
                </c:pt>
                <c:pt idx="936">
                  <c:v>45810</c:v>
                </c:pt>
                <c:pt idx="937">
                  <c:v>45811</c:v>
                </c:pt>
                <c:pt idx="938">
                  <c:v>45812</c:v>
                </c:pt>
                <c:pt idx="939">
                  <c:v>45813</c:v>
                </c:pt>
                <c:pt idx="940">
                  <c:v>45817</c:v>
                </c:pt>
                <c:pt idx="941">
                  <c:v>45818</c:v>
                </c:pt>
                <c:pt idx="942">
                  <c:v>45819</c:v>
                </c:pt>
                <c:pt idx="943">
                  <c:v>45820</c:v>
                </c:pt>
                <c:pt idx="944">
                  <c:v>45821</c:v>
                </c:pt>
                <c:pt idx="945">
                  <c:v>45824</c:v>
                </c:pt>
                <c:pt idx="946">
                  <c:v>45825</c:v>
                </c:pt>
                <c:pt idx="947">
                  <c:v>45826</c:v>
                </c:pt>
                <c:pt idx="948">
                  <c:v>45827</c:v>
                </c:pt>
                <c:pt idx="949">
                  <c:v>45828</c:v>
                </c:pt>
                <c:pt idx="950">
                  <c:v>45831</c:v>
                </c:pt>
                <c:pt idx="951">
                  <c:v>45832</c:v>
                </c:pt>
                <c:pt idx="952">
                  <c:v>45833</c:v>
                </c:pt>
                <c:pt idx="953">
                  <c:v>45834</c:v>
                </c:pt>
                <c:pt idx="954">
                  <c:v>45835</c:v>
                </c:pt>
                <c:pt idx="955">
                  <c:v>45838</c:v>
                </c:pt>
                <c:pt idx="956">
                  <c:v>45839</c:v>
                </c:pt>
                <c:pt idx="957">
                  <c:v>45840</c:v>
                </c:pt>
                <c:pt idx="958">
                  <c:v>45841</c:v>
                </c:pt>
                <c:pt idx="959">
                  <c:v>45842</c:v>
                </c:pt>
                <c:pt idx="960">
                  <c:v>45846</c:v>
                </c:pt>
                <c:pt idx="961">
                  <c:v>45847</c:v>
                </c:pt>
                <c:pt idx="962">
                  <c:v>45848</c:v>
                </c:pt>
                <c:pt idx="963">
                  <c:v>45849</c:v>
                </c:pt>
                <c:pt idx="964">
                  <c:v>45852</c:v>
                </c:pt>
                <c:pt idx="965">
                  <c:v>45853</c:v>
                </c:pt>
                <c:pt idx="966">
                  <c:v>45854</c:v>
                </c:pt>
                <c:pt idx="967">
                  <c:v>45855</c:v>
                </c:pt>
                <c:pt idx="968">
                  <c:v>45856</c:v>
                </c:pt>
                <c:pt idx="969">
                  <c:v>45859</c:v>
                </c:pt>
                <c:pt idx="970">
                  <c:v>45860</c:v>
                </c:pt>
                <c:pt idx="971">
                  <c:v>45861</c:v>
                </c:pt>
                <c:pt idx="972">
                  <c:v>45862</c:v>
                </c:pt>
                <c:pt idx="973">
                  <c:v>45863</c:v>
                </c:pt>
                <c:pt idx="974">
                  <c:v>45866</c:v>
                </c:pt>
                <c:pt idx="975">
                  <c:v>45867</c:v>
                </c:pt>
                <c:pt idx="976">
                  <c:v>45868</c:v>
                </c:pt>
                <c:pt idx="977">
                  <c:v>45869</c:v>
                </c:pt>
                <c:pt idx="978">
                  <c:v>45870</c:v>
                </c:pt>
                <c:pt idx="979">
                  <c:v>45873</c:v>
                </c:pt>
                <c:pt idx="980">
                  <c:v>45874</c:v>
                </c:pt>
                <c:pt idx="981">
                  <c:v>45875</c:v>
                </c:pt>
                <c:pt idx="982">
                  <c:v>45876</c:v>
                </c:pt>
                <c:pt idx="983">
                  <c:v>45877</c:v>
                </c:pt>
                <c:pt idx="984">
                  <c:v>45880</c:v>
                </c:pt>
                <c:pt idx="985">
                  <c:v>45881</c:v>
                </c:pt>
                <c:pt idx="986">
                  <c:v>45882</c:v>
                </c:pt>
                <c:pt idx="987">
                  <c:v>45883</c:v>
                </c:pt>
                <c:pt idx="988">
                  <c:v>45884</c:v>
                </c:pt>
                <c:pt idx="989">
                  <c:v>45887</c:v>
                </c:pt>
                <c:pt idx="990">
                  <c:v>45888</c:v>
                </c:pt>
                <c:pt idx="991">
                  <c:v>45889</c:v>
                </c:pt>
                <c:pt idx="992">
                  <c:v>45890</c:v>
                </c:pt>
                <c:pt idx="993">
                  <c:v>45891</c:v>
                </c:pt>
                <c:pt idx="994">
                  <c:v>45894</c:v>
                </c:pt>
                <c:pt idx="995">
                  <c:v>45895</c:v>
                </c:pt>
                <c:pt idx="996">
                  <c:v>45896</c:v>
                </c:pt>
                <c:pt idx="997">
                  <c:v>45897</c:v>
                </c:pt>
                <c:pt idx="998">
                  <c:v>45898</c:v>
                </c:pt>
                <c:pt idx="999">
                  <c:v>45902</c:v>
                </c:pt>
                <c:pt idx="1000">
                  <c:v>45903</c:v>
                </c:pt>
                <c:pt idx="1001">
                  <c:v>45904</c:v>
                </c:pt>
                <c:pt idx="1002">
                  <c:v>45905</c:v>
                </c:pt>
                <c:pt idx="1003">
                  <c:v>45908</c:v>
                </c:pt>
                <c:pt idx="1004">
                  <c:v>45909</c:v>
                </c:pt>
                <c:pt idx="1005">
                  <c:v>45910</c:v>
                </c:pt>
                <c:pt idx="1006">
                  <c:v>45911</c:v>
                </c:pt>
                <c:pt idx="1007">
                  <c:v>45912</c:v>
                </c:pt>
                <c:pt idx="1008">
                  <c:v>45915</c:v>
                </c:pt>
                <c:pt idx="1009">
                  <c:v>45916</c:v>
                </c:pt>
                <c:pt idx="1010">
                  <c:v>45917</c:v>
                </c:pt>
                <c:pt idx="1011">
                  <c:v>45918</c:v>
                </c:pt>
                <c:pt idx="1012">
                  <c:v>45919</c:v>
                </c:pt>
                <c:pt idx="1013">
                  <c:v>45922</c:v>
                </c:pt>
                <c:pt idx="1014">
                  <c:v>45923</c:v>
                </c:pt>
                <c:pt idx="1015">
                  <c:v>45924</c:v>
                </c:pt>
                <c:pt idx="1016">
                  <c:v>45925</c:v>
                </c:pt>
                <c:pt idx="1017">
                  <c:v>45926</c:v>
                </c:pt>
                <c:pt idx="1018">
                  <c:v>45929</c:v>
                </c:pt>
                <c:pt idx="1019">
                  <c:v>45930</c:v>
                </c:pt>
              </c:numCache>
            </c:numRef>
          </c:cat>
          <c:val>
            <c:numRef>
              <c:f>Sheet1!$B$5:$B$1024</c:f>
              <c:numCache>
                <c:formatCode>General</c:formatCode>
                <c:ptCount val="1020"/>
                <c:pt idx="0">
                  <c:v>1000</c:v>
                </c:pt>
                <c:pt idx="1">
                  <c:v>1012.47</c:v>
                </c:pt>
                <c:pt idx="2">
                  <c:v>1001.88</c:v>
                </c:pt>
                <c:pt idx="3">
                  <c:v>994.92</c:v>
                </c:pt>
                <c:pt idx="4">
                  <c:v>996.71</c:v>
                </c:pt>
                <c:pt idx="5">
                  <c:v>986.96</c:v>
                </c:pt>
                <c:pt idx="6">
                  <c:v>989.89</c:v>
                </c:pt>
                <c:pt idx="7">
                  <c:v>986.46</c:v>
                </c:pt>
                <c:pt idx="8">
                  <c:v>996.82</c:v>
                </c:pt>
                <c:pt idx="9">
                  <c:v>983.38</c:v>
                </c:pt>
                <c:pt idx="10">
                  <c:v>960.99</c:v>
                </c:pt>
                <c:pt idx="11">
                  <c:v>969.84</c:v>
                </c:pt>
                <c:pt idx="12">
                  <c:v>971.16</c:v>
                </c:pt>
                <c:pt idx="13">
                  <c:v>968.72</c:v>
                </c:pt>
                <c:pt idx="14">
                  <c:v>992.3</c:v>
                </c:pt>
                <c:pt idx="15">
                  <c:v>986.89</c:v>
                </c:pt>
                <c:pt idx="16">
                  <c:v>1001.58</c:v>
                </c:pt>
                <c:pt idx="17">
                  <c:v>1008.15</c:v>
                </c:pt>
                <c:pt idx="18">
                  <c:v>993.33</c:v>
                </c:pt>
                <c:pt idx="19">
                  <c:v>1002.37</c:v>
                </c:pt>
                <c:pt idx="20">
                  <c:v>1001.19</c:v>
                </c:pt>
                <c:pt idx="21">
                  <c:v>995.4</c:v>
                </c:pt>
                <c:pt idx="22">
                  <c:v>1003.18</c:v>
                </c:pt>
                <c:pt idx="23">
                  <c:v>995.48</c:v>
                </c:pt>
                <c:pt idx="24">
                  <c:v>991.9</c:v>
                </c:pt>
                <c:pt idx="25">
                  <c:v>993.37</c:v>
                </c:pt>
                <c:pt idx="26">
                  <c:v>998.09</c:v>
                </c:pt>
                <c:pt idx="27">
                  <c:v>1001.7</c:v>
                </c:pt>
                <c:pt idx="28">
                  <c:v>1003.58</c:v>
                </c:pt>
                <c:pt idx="29">
                  <c:v>1003.78</c:v>
                </c:pt>
                <c:pt idx="30">
                  <c:v>993.21</c:v>
                </c:pt>
                <c:pt idx="31">
                  <c:v>988.4</c:v>
                </c:pt>
                <c:pt idx="32">
                  <c:v>983.34</c:v>
                </c:pt>
                <c:pt idx="33">
                  <c:v>979.11</c:v>
                </c:pt>
                <c:pt idx="34">
                  <c:v>1003.31</c:v>
                </c:pt>
                <c:pt idx="35">
                  <c:v>1012.58</c:v>
                </c:pt>
                <c:pt idx="36">
                  <c:v>1022.23</c:v>
                </c:pt>
                <c:pt idx="37">
                  <c:v>1012.65</c:v>
                </c:pt>
                <c:pt idx="38">
                  <c:v>1022.39</c:v>
                </c:pt>
                <c:pt idx="39">
                  <c:v>1034.42</c:v>
                </c:pt>
                <c:pt idx="40">
                  <c:v>1035.55</c:v>
                </c:pt>
                <c:pt idx="41">
                  <c:v>1045.02</c:v>
                </c:pt>
                <c:pt idx="42">
                  <c:v>1052.19</c:v>
                </c:pt>
                <c:pt idx="43">
                  <c:v>1061.82</c:v>
                </c:pt>
                <c:pt idx="44">
                  <c:v>1062.6500000000001</c:v>
                </c:pt>
                <c:pt idx="45">
                  <c:v>1059.1400000000001</c:v>
                </c:pt>
                <c:pt idx="46">
                  <c:v>1060.24</c:v>
                </c:pt>
                <c:pt idx="47">
                  <c:v>1058.7</c:v>
                </c:pt>
                <c:pt idx="48">
                  <c:v>1086.01</c:v>
                </c:pt>
                <c:pt idx="49">
                  <c:v>1077.43</c:v>
                </c:pt>
                <c:pt idx="50">
                  <c:v>1103.29</c:v>
                </c:pt>
                <c:pt idx="51">
                  <c:v>1086.56</c:v>
                </c:pt>
                <c:pt idx="52">
                  <c:v>1071.74</c:v>
                </c:pt>
                <c:pt idx="53">
                  <c:v>1054.8399999999999</c:v>
                </c:pt>
                <c:pt idx="54">
                  <c:v>1063.19</c:v>
                </c:pt>
                <c:pt idx="55">
                  <c:v>1069.81</c:v>
                </c:pt>
                <c:pt idx="56">
                  <c:v>1057.93</c:v>
                </c:pt>
                <c:pt idx="57">
                  <c:v>1049.6600000000001</c:v>
                </c:pt>
                <c:pt idx="58">
                  <c:v>1044.55</c:v>
                </c:pt>
                <c:pt idx="59">
                  <c:v>1034.57</c:v>
                </c:pt>
                <c:pt idx="60">
                  <c:v>1025.3699999999999</c:v>
                </c:pt>
                <c:pt idx="61">
                  <c:v>1031.6099999999999</c:v>
                </c:pt>
                <c:pt idx="62">
                  <c:v>1035.78</c:v>
                </c:pt>
                <c:pt idx="63">
                  <c:v>1041.71</c:v>
                </c:pt>
                <c:pt idx="64">
                  <c:v>1049.23</c:v>
                </c:pt>
                <c:pt idx="65">
                  <c:v>1040.75</c:v>
                </c:pt>
                <c:pt idx="66">
                  <c:v>1058.79</c:v>
                </c:pt>
                <c:pt idx="67">
                  <c:v>1063.74</c:v>
                </c:pt>
                <c:pt idx="68">
                  <c:v>1067.75</c:v>
                </c:pt>
                <c:pt idx="69">
                  <c:v>1092.3900000000001</c:v>
                </c:pt>
                <c:pt idx="70">
                  <c:v>1114.2</c:v>
                </c:pt>
                <c:pt idx="71">
                  <c:v>1130.44</c:v>
                </c:pt>
                <c:pt idx="72">
                  <c:v>1128.95</c:v>
                </c:pt>
                <c:pt idx="73">
                  <c:v>1151.47</c:v>
                </c:pt>
                <c:pt idx="74">
                  <c:v>1159.45</c:v>
                </c:pt>
                <c:pt idx="75">
                  <c:v>1158.6199999999999</c:v>
                </c:pt>
                <c:pt idx="76">
                  <c:v>1143.95</c:v>
                </c:pt>
                <c:pt idx="77">
                  <c:v>1146.24</c:v>
                </c:pt>
                <c:pt idx="78">
                  <c:v>1167.33</c:v>
                </c:pt>
                <c:pt idx="79">
                  <c:v>1168.68</c:v>
                </c:pt>
                <c:pt idx="80">
                  <c:v>1168.4000000000001</c:v>
                </c:pt>
                <c:pt idx="81">
                  <c:v>1177.6500000000001</c:v>
                </c:pt>
                <c:pt idx="82">
                  <c:v>1173.98</c:v>
                </c:pt>
                <c:pt idx="83">
                  <c:v>1161.26</c:v>
                </c:pt>
                <c:pt idx="84">
                  <c:v>1165.97</c:v>
                </c:pt>
                <c:pt idx="85">
                  <c:v>1169.0899999999999</c:v>
                </c:pt>
                <c:pt idx="86">
                  <c:v>1177.45</c:v>
                </c:pt>
                <c:pt idx="87">
                  <c:v>1169.46</c:v>
                </c:pt>
                <c:pt idx="88">
                  <c:v>1186.58</c:v>
                </c:pt>
                <c:pt idx="89">
                  <c:v>1194.99</c:v>
                </c:pt>
                <c:pt idx="90">
                  <c:v>1194.57</c:v>
                </c:pt>
                <c:pt idx="91">
                  <c:v>1204.58</c:v>
                </c:pt>
                <c:pt idx="92">
                  <c:v>1201.23</c:v>
                </c:pt>
                <c:pt idx="93">
                  <c:v>1196.1199999999999</c:v>
                </c:pt>
                <c:pt idx="94">
                  <c:v>1183.57</c:v>
                </c:pt>
                <c:pt idx="95">
                  <c:v>1181.9000000000001</c:v>
                </c:pt>
                <c:pt idx="96">
                  <c:v>1174.3599999999999</c:v>
                </c:pt>
                <c:pt idx="97">
                  <c:v>1166.3599999999999</c:v>
                </c:pt>
                <c:pt idx="98">
                  <c:v>1141.93</c:v>
                </c:pt>
                <c:pt idx="99">
                  <c:v>1128.82</c:v>
                </c:pt>
                <c:pt idx="100">
                  <c:v>1139.4100000000001</c:v>
                </c:pt>
                <c:pt idx="101">
                  <c:v>1149.0899999999999</c:v>
                </c:pt>
                <c:pt idx="102">
                  <c:v>1128.99</c:v>
                </c:pt>
                <c:pt idx="103">
                  <c:v>1139.6500000000001</c:v>
                </c:pt>
                <c:pt idx="104">
                  <c:v>1138.21</c:v>
                </c:pt>
                <c:pt idx="105">
                  <c:v>1143.67</c:v>
                </c:pt>
                <c:pt idx="106">
                  <c:v>1145.3599999999999</c:v>
                </c:pt>
                <c:pt idx="107">
                  <c:v>1118.94</c:v>
                </c:pt>
                <c:pt idx="108">
                  <c:v>1139.68</c:v>
                </c:pt>
                <c:pt idx="109">
                  <c:v>1134.6300000000001</c:v>
                </c:pt>
                <c:pt idx="110">
                  <c:v>1133.3699999999999</c:v>
                </c:pt>
                <c:pt idx="111">
                  <c:v>1115.9100000000001</c:v>
                </c:pt>
                <c:pt idx="112">
                  <c:v>1104.47</c:v>
                </c:pt>
                <c:pt idx="113">
                  <c:v>1092.4100000000001</c:v>
                </c:pt>
                <c:pt idx="114">
                  <c:v>1088.26</c:v>
                </c:pt>
                <c:pt idx="115">
                  <c:v>1080.58</c:v>
                </c:pt>
                <c:pt idx="116">
                  <c:v>1088.21</c:v>
                </c:pt>
                <c:pt idx="117">
                  <c:v>1093.8399999999999</c:v>
                </c:pt>
                <c:pt idx="118">
                  <c:v>1103.73</c:v>
                </c:pt>
                <c:pt idx="119">
                  <c:v>1096.46</c:v>
                </c:pt>
                <c:pt idx="120">
                  <c:v>1103.07</c:v>
                </c:pt>
                <c:pt idx="121">
                  <c:v>1109.1199999999999</c:v>
                </c:pt>
                <c:pt idx="122">
                  <c:v>1102.31</c:v>
                </c:pt>
                <c:pt idx="123">
                  <c:v>1097.45</c:v>
                </c:pt>
                <c:pt idx="124">
                  <c:v>1104.04</c:v>
                </c:pt>
                <c:pt idx="125">
                  <c:v>1016.15</c:v>
                </c:pt>
                <c:pt idx="126">
                  <c:v>1005.93</c:v>
                </c:pt>
                <c:pt idx="127">
                  <c:v>1014.66</c:v>
                </c:pt>
                <c:pt idx="128">
                  <c:v>1035.5999999999999</c:v>
                </c:pt>
                <c:pt idx="129">
                  <c:v>1020.59</c:v>
                </c:pt>
                <c:pt idx="130">
                  <c:v>999.76</c:v>
                </c:pt>
                <c:pt idx="131">
                  <c:v>999.42</c:v>
                </c:pt>
                <c:pt idx="132">
                  <c:v>981.36</c:v>
                </c:pt>
                <c:pt idx="133">
                  <c:v>1002.47</c:v>
                </c:pt>
                <c:pt idx="134">
                  <c:v>997.19</c:v>
                </c:pt>
                <c:pt idx="135">
                  <c:v>986.22</c:v>
                </c:pt>
                <c:pt idx="136">
                  <c:v>931.71</c:v>
                </c:pt>
                <c:pt idx="137">
                  <c:v>952.18</c:v>
                </c:pt>
                <c:pt idx="138">
                  <c:v>956.65</c:v>
                </c:pt>
                <c:pt idx="139">
                  <c:v>949.96</c:v>
                </c:pt>
                <c:pt idx="140">
                  <c:v>943.85</c:v>
                </c:pt>
                <c:pt idx="141">
                  <c:v>958.66</c:v>
                </c:pt>
                <c:pt idx="142">
                  <c:v>973.5</c:v>
                </c:pt>
                <c:pt idx="143">
                  <c:v>978.77</c:v>
                </c:pt>
                <c:pt idx="144">
                  <c:v>966.53</c:v>
                </c:pt>
                <c:pt idx="145">
                  <c:v>962.58</c:v>
                </c:pt>
                <c:pt idx="146">
                  <c:v>969.61</c:v>
                </c:pt>
                <c:pt idx="147">
                  <c:v>976.69</c:v>
                </c:pt>
                <c:pt idx="148">
                  <c:v>992.12</c:v>
                </c:pt>
                <c:pt idx="149">
                  <c:v>997.83</c:v>
                </c:pt>
                <c:pt idx="150">
                  <c:v>989.73</c:v>
                </c:pt>
                <c:pt idx="151">
                  <c:v>978.98</c:v>
                </c:pt>
                <c:pt idx="152">
                  <c:v>990.69</c:v>
                </c:pt>
                <c:pt idx="153">
                  <c:v>998.24</c:v>
                </c:pt>
                <c:pt idx="154">
                  <c:v>995.47</c:v>
                </c:pt>
                <c:pt idx="155">
                  <c:v>985.5</c:v>
                </c:pt>
                <c:pt idx="156">
                  <c:v>951.89</c:v>
                </c:pt>
                <c:pt idx="157">
                  <c:v>958.66</c:v>
                </c:pt>
                <c:pt idx="158">
                  <c:v>955.92</c:v>
                </c:pt>
                <c:pt idx="159">
                  <c:v>877.41</c:v>
                </c:pt>
                <c:pt idx="160">
                  <c:v>876.34</c:v>
                </c:pt>
                <c:pt idx="161">
                  <c:v>801.1</c:v>
                </c:pt>
                <c:pt idx="162">
                  <c:v>794.18</c:v>
                </c:pt>
                <c:pt idx="163">
                  <c:v>760.34</c:v>
                </c:pt>
                <c:pt idx="164">
                  <c:v>746.4</c:v>
                </c:pt>
                <c:pt idx="165">
                  <c:v>726.21</c:v>
                </c:pt>
                <c:pt idx="166">
                  <c:v>794.74</c:v>
                </c:pt>
                <c:pt idx="167">
                  <c:v>783.96</c:v>
                </c:pt>
                <c:pt idx="168">
                  <c:v>797.94</c:v>
                </c:pt>
                <c:pt idx="169">
                  <c:v>792.54</c:v>
                </c:pt>
                <c:pt idx="170">
                  <c:v>757.9</c:v>
                </c:pt>
                <c:pt idx="171">
                  <c:v>767.14</c:v>
                </c:pt>
                <c:pt idx="172">
                  <c:v>779.02</c:v>
                </c:pt>
                <c:pt idx="173">
                  <c:v>779.43</c:v>
                </c:pt>
                <c:pt idx="174">
                  <c:v>805.96</c:v>
                </c:pt>
                <c:pt idx="175">
                  <c:v>818.85</c:v>
                </c:pt>
                <c:pt idx="176">
                  <c:v>856.18</c:v>
                </c:pt>
                <c:pt idx="177">
                  <c:v>955.98</c:v>
                </c:pt>
                <c:pt idx="178">
                  <c:v>919.66</c:v>
                </c:pt>
                <c:pt idx="179">
                  <c:v>932.51</c:v>
                </c:pt>
                <c:pt idx="180">
                  <c:v>938.2</c:v>
                </c:pt>
                <c:pt idx="181">
                  <c:v>949.54</c:v>
                </c:pt>
                <c:pt idx="182">
                  <c:v>965.69</c:v>
                </c:pt>
                <c:pt idx="183">
                  <c:v>929.39</c:v>
                </c:pt>
                <c:pt idx="184">
                  <c:v>925.99</c:v>
                </c:pt>
                <c:pt idx="185">
                  <c:v>931.77</c:v>
                </c:pt>
                <c:pt idx="186">
                  <c:v>918.06</c:v>
                </c:pt>
                <c:pt idx="187">
                  <c:v>944.17</c:v>
                </c:pt>
                <c:pt idx="188">
                  <c:v>956.38</c:v>
                </c:pt>
                <c:pt idx="189">
                  <c:v>957.37</c:v>
                </c:pt>
                <c:pt idx="190">
                  <c:v>947.1</c:v>
                </c:pt>
                <c:pt idx="191">
                  <c:v>945.41</c:v>
                </c:pt>
                <c:pt idx="192">
                  <c:v>932.4</c:v>
                </c:pt>
                <c:pt idx="193">
                  <c:v>920.12</c:v>
                </c:pt>
                <c:pt idx="194">
                  <c:v>918.06</c:v>
                </c:pt>
                <c:pt idx="195">
                  <c:v>906.1</c:v>
                </c:pt>
                <c:pt idx="196">
                  <c:v>886.51</c:v>
                </c:pt>
                <c:pt idx="197">
                  <c:v>882.41</c:v>
                </c:pt>
                <c:pt idx="198">
                  <c:v>889.66</c:v>
                </c:pt>
                <c:pt idx="199">
                  <c:v>878.56</c:v>
                </c:pt>
                <c:pt idx="200">
                  <c:v>863.49</c:v>
                </c:pt>
                <c:pt idx="201">
                  <c:v>861.64</c:v>
                </c:pt>
                <c:pt idx="202">
                  <c:v>848.02</c:v>
                </c:pt>
                <c:pt idx="203">
                  <c:v>816.29</c:v>
                </c:pt>
                <c:pt idx="204">
                  <c:v>821.62</c:v>
                </c:pt>
                <c:pt idx="205">
                  <c:v>774.84</c:v>
                </c:pt>
                <c:pt idx="206">
                  <c:v>753.82</c:v>
                </c:pt>
                <c:pt idx="207">
                  <c:v>774.04</c:v>
                </c:pt>
                <c:pt idx="208">
                  <c:v>772.57</c:v>
                </c:pt>
                <c:pt idx="209">
                  <c:v>782.51</c:v>
                </c:pt>
                <c:pt idx="210">
                  <c:v>771.55</c:v>
                </c:pt>
                <c:pt idx="211">
                  <c:v>758.58</c:v>
                </c:pt>
                <c:pt idx="212">
                  <c:v>755.16</c:v>
                </c:pt>
                <c:pt idx="213">
                  <c:v>752.48</c:v>
                </c:pt>
                <c:pt idx="214">
                  <c:v>732.07</c:v>
                </c:pt>
                <c:pt idx="215">
                  <c:v>730.8</c:v>
                </c:pt>
                <c:pt idx="216">
                  <c:v>741.81</c:v>
                </c:pt>
                <c:pt idx="217">
                  <c:v>761.6</c:v>
                </c:pt>
                <c:pt idx="218">
                  <c:v>757.1</c:v>
                </c:pt>
                <c:pt idx="219">
                  <c:v>754.22</c:v>
                </c:pt>
                <c:pt idx="220">
                  <c:v>757.79</c:v>
                </c:pt>
                <c:pt idx="221">
                  <c:v>754.67</c:v>
                </c:pt>
                <c:pt idx="222">
                  <c:v>754.85</c:v>
                </c:pt>
                <c:pt idx="223">
                  <c:v>772.41</c:v>
                </c:pt>
                <c:pt idx="224">
                  <c:v>768.63</c:v>
                </c:pt>
                <c:pt idx="225">
                  <c:v>775.28</c:v>
                </c:pt>
                <c:pt idx="226">
                  <c:v>780.11</c:v>
                </c:pt>
                <c:pt idx="227">
                  <c:v>760.07</c:v>
                </c:pt>
                <c:pt idx="228">
                  <c:v>748.68</c:v>
                </c:pt>
                <c:pt idx="229">
                  <c:v>741.22</c:v>
                </c:pt>
                <c:pt idx="230">
                  <c:v>738.28</c:v>
                </c:pt>
                <c:pt idx="231">
                  <c:v>734.59</c:v>
                </c:pt>
                <c:pt idx="232">
                  <c:v>751.6</c:v>
                </c:pt>
                <c:pt idx="233">
                  <c:v>746.35</c:v>
                </c:pt>
                <c:pt idx="234">
                  <c:v>753.36</c:v>
                </c:pt>
                <c:pt idx="235">
                  <c:v>756.52</c:v>
                </c:pt>
                <c:pt idx="236">
                  <c:v>762.19</c:v>
                </c:pt>
                <c:pt idx="237">
                  <c:v>763.15</c:v>
                </c:pt>
                <c:pt idx="238">
                  <c:v>762.14</c:v>
                </c:pt>
                <c:pt idx="239">
                  <c:v>768.72</c:v>
                </c:pt>
                <c:pt idx="240">
                  <c:v>768.22</c:v>
                </c:pt>
                <c:pt idx="241">
                  <c:v>764.87</c:v>
                </c:pt>
                <c:pt idx="242">
                  <c:v>754.89</c:v>
                </c:pt>
                <c:pt idx="243">
                  <c:v>761.08</c:v>
                </c:pt>
                <c:pt idx="244">
                  <c:v>752.24</c:v>
                </c:pt>
                <c:pt idx="245">
                  <c:v>753.16</c:v>
                </c:pt>
                <c:pt idx="246">
                  <c:v>761.21</c:v>
                </c:pt>
                <c:pt idx="247">
                  <c:v>760.15</c:v>
                </c:pt>
                <c:pt idx="248">
                  <c:v>759.57</c:v>
                </c:pt>
                <c:pt idx="249">
                  <c:v>749.05</c:v>
                </c:pt>
                <c:pt idx="250">
                  <c:v>741.89</c:v>
                </c:pt>
                <c:pt idx="251">
                  <c:v>751.4</c:v>
                </c:pt>
                <c:pt idx="252">
                  <c:v>760.68</c:v>
                </c:pt>
                <c:pt idx="253">
                  <c:v>773.73</c:v>
                </c:pt>
                <c:pt idx="254">
                  <c:v>793.63</c:v>
                </c:pt>
                <c:pt idx="255">
                  <c:v>795.96</c:v>
                </c:pt>
                <c:pt idx="256">
                  <c:v>799.31</c:v>
                </c:pt>
                <c:pt idx="257">
                  <c:v>799.22</c:v>
                </c:pt>
                <c:pt idx="258">
                  <c:v>818.22</c:v>
                </c:pt>
                <c:pt idx="259">
                  <c:v>836.77</c:v>
                </c:pt>
                <c:pt idx="260">
                  <c:v>860.47</c:v>
                </c:pt>
                <c:pt idx="261">
                  <c:v>868.13</c:v>
                </c:pt>
                <c:pt idx="262">
                  <c:v>868.3</c:v>
                </c:pt>
                <c:pt idx="263">
                  <c:v>862.14</c:v>
                </c:pt>
                <c:pt idx="264">
                  <c:v>869.01</c:v>
                </c:pt>
                <c:pt idx="265">
                  <c:v>878.82</c:v>
                </c:pt>
                <c:pt idx="266">
                  <c:v>877.53</c:v>
                </c:pt>
                <c:pt idx="267">
                  <c:v>881.65</c:v>
                </c:pt>
                <c:pt idx="268">
                  <c:v>886.04</c:v>
                </c:pt>
                <c:pt idx="269">
                  <c:v>884.93</c:v>
                </c:pt>
                <c:pt idx="270">
                  <c:v>885.4</c:v>
                </c:pt>
                <c:pt idx="271">
                  <c:v>890.46</c:v>
                </c:pt>
                <c:pt idx="272">
                  <c:v>886.16</c:v>
                </c:pt>
                <c:pt idx="273">
                  <c:v>888.53</c:v>
                </c:pt>
                <c:pt idx="274">
                  <c:v>887.44</c:v>
                </c:pt>
                <c:pt idx="275">
                  <c:v>898.36</c:v>
                </c:pt>
                <c:pt idx="276">
                  <c:v>892.93</c:v>
                </c:pt>
                <c:pt idx="277">
                  <c:v>886.46</c:v>
                </c:pt>
                <c:pt idx="278">
                  <c:v>903.47</c:v>
                </c:pt>
                <c:pt idx="279">
                  <c:v>898.71</c:v>
                </c:pt>
                <c:pt idx="280">
                  <c:v>902.4</c:v>
                </c:pt>
                <c:pt idx="281">
                  <c:v>906.81</c:v>
                </c:pt>
                <c:pt idx="282">
                  <c:v>912.12</c:v>
                </c:pt>
                <c:pt idx="283">
                  <c:v>874.68</c:v>
                </c:pt>
                <c:pt idx="284">
                  <c:v>880.09</c:v>
                </c:pt>
                <c:pt idx="285">
                  <c:v>874.45</c:v>
                </c:pt>
                <c:pt idx="286">
                  <c:v>875.16</c:v>
                </c:pt>
                <c:pt idx="287">
                  <c:v>889.02</c:v>
                </c:pt>
                <c:pt idx="288">
                  <c:v>889.62</c:v>
                </c:pt>
                <c:pt idx="289">
                  <c:v>898.82</c:v>
                </c:pt>
                <c:pt idx="290">
                  <c:v>917.54</c:v>
                </c:pt>
                <c:pt idx="291">
                  <c:v>900.56</c:v>
                </c:pt>
                <c:pt idx="292">
                  <c:v>913.18</c:v>
                </c:pt>
                <c:pt idx="293">
                  <c:v>902.3</c:v>
                </c:pt>
                <c:pt idx="294">
                  <c:v>890.37</c:v>
                </c:pt>
                <c:pt idx="295">
                  <c:v>900.16</c:v>
                </c:pt>
                <c:pt idx="296">
                  <c:v>892.24</c:v>
                </c:pt>
                <c:pt idx="297">
                  <c:v>886.54</c:v>
                </c:pt>
                <c:pt idx="298">
                  <c:v>884.73</c:v>
                </c:pt>
                <c:pt idx="299">
                  <c:v>867.03</c:v>
                </c:pt>
                <c:pt idx="300">
                  <c:v>866.33</c:v>
                </c:pt>
                <c:pt idx="301">
                  <c:v>875.63</c:v>
                </c:pt>
                <c:pt idx="302">
                  <c:v>876.1</c:v>
                </c:pt>
                <c:pt idx="303">
                  <c:v>866.9</c:v>
                </c:pt>
                <c:pt idx="304">
                  <c:v>854.13</c:v>
                </c:pt>
                <c:pt idx="305">
                  <c:v>877.6</c:v>
                </c:pt>
                <c:pt idx="306">
                  <c:v>885.24</c:v>
                </c:pt>
                <c:pt idx="307">
                  <c:v>884.43</c:v>
                </c:pt>
                <c:pt idx="308">
                  <c:v>889.6</c:v>
                </c:pt>
                <c:pt idx="309">
                  <c:v>880.87</c:v>
                </c:pt>
                <c:pt idx="310">
                  <c:v>882.13</c:v>
                </c:pt>
                <c:pt idx="311">
                  <c:v>888.45</c:v>
                </c:pt>
                <c:pt idx="312">
                  <c:v>877.95</c:v>
                </c:pt>
                <c:pt idx="313">
                  <c:v>894.51</c:v>
                </c:pt>
                <c:pt idx="314">
                  <c:v>882.16</c:v>
                </c:pt>
                <c:pt idx="315">
                  <c:v>882.32</c:v>
                </c:pt>
                <c:pt idx="316">
                  <c:v>884.4</c:v>
                </c:pt>
                <c:pt idx="317">
                  <c:v>887.2</c:v>
                </c:pt>
                <c:pt idx="318">
                  <c:v>885.75</c:v>
                </c:pt>
                <c:pt idx="319">
                  <c:v>887.47</c:v>
                </c:pt>
                <c:pt idx="320">
                  <c:v>892.14</c:v>
                </c:pt>
                <c:pt idx="321">
                  <c:v>884.48</c:v>
                </c:pt>
                <c:pt idx="322">
                  <c:v>888.77</c:v>
                </c:pt>
                <c:pt idx="323">
                  <c:v>879.71</c:v>
                </c:pt>
                <c:pt idx="324">
                  <c:v>880.55</c:v>
                </c:pt>
                <c:pt idx="325">
                  <c:v>870.25</c:v>
                </c:pt>
                <c:pt idx="326">
                  <c:v>858.75</c:v>
                </c:pt>
                <c:pt idx="327">
                  <c:v>868.7</c:v>
                </c:pt>
                <c:pt idx="328">
                  <c:v>875.69</c:v>
                </c:pt>
                <c:pt idx="329">
                  <c:v>888.28</c:v>
                </c:pt>
                <c:pt idx="330">
                  <c:v>879.41</c:v>
                </c:pt>
                <c:pt idx="331">
                  <c:v>886.78</c:v>
                </c:pt>
                <c:pt idx="332">
                  <c:v>893.25</c:v>
                </c:pt>
                <c:pt idx="333">
                  <c:v>886.42</c:v>
                </c:pt>
                <c:pt idx="334">
                  <c:v>879.72</c:v>
                </c:pt>
                <c:pt idx="335">
                  <c:v>879.28</c:v>
                </c:pt>
                <c:pt idx="336">
                  <c:v>874.11</c:v>
                </c:pt>
                <c:pt idx="337">
                  <c:v>877.34</c:v>
                </c:pt>
                <c:pt idx="338">
                  <c:v>874.6</c:v>
                </c:pt>
                <c:pt idx="339">
                  <c:v>874.58</c:v>
                </c:pt>
                <c:pt idx="340">
                  <c:v>888.22</c:v>
                </c:pt>
                <c:pt idx="341">
                  <c:v>892.9</c:v>
                </c:pt>
                <c:pt idx="342">
                  <c:v>895.75</c:v>
                </c:pt>
                <c:pt idx="343">
                  <c:v>885.18</c:v>
                </c:pt>
                <c:pt idx="344">
                  <c:v>895.12</c:v>
                </c:pt>
                <c:pt idx="345">
                  <c:v>898.22</c:v>
                </c:pt>
                <c:pt idx="346">
                  <c:v>912.31</c:v>
                </c:pt>
                <c:pt idx="347">
                  <c:v>924.58</c:v>
                </c:pt>
                <c:pt idx="348">
                  <c:v>923.94</c:v>
                </c:pt>
                <c:pt idx="349">
                  <c:v>924.7</c:v>
                </c:pt>
                <c:pt idx="350">
                  <c:v>923.25</c:v>
                </c:pt>
                <c:pt idx="351">
                  <c:v>928.44</c:v>
                </c:pt>
                <c:pt idx="352">
                  <c:v>921.84</c:v>
                </c:pt>
                <c:pt idx="353">
                  <c:v>917.16</c:v>
                </c:pt>
                <c:pt idx="354">
                  <c:v>925.59</c:v>
                </c:pt>
                <c:pt idx="355">
                  <c:v>925.8</c:v>
                </c:pt>
                <c:pt idx="356">
                  <c:v>926.86</c:v>
                </c:pt>
                <c:pt idx="357">
                  <c:v>925.58</c:v>
                </c:pt>
                <c:pt idx="358">
                  <c:v>923.38</c:v>
                </c:pt>
                <c:pt idx="359">
                  <c:v>923.53</c:v>
                </c:pt>
                <c:pt idx="360">
                  <c:v>924.77</c:v>
                </c:pt>
                <c:pt idx="361">
                  <c:v>920.13</c:v>
                </c:pt>
                <c:pt idx="362">
                  <c:v>922.42</c:v>
                </c:pt>
                <c:pt idx="363">
                  <c:v>925.38</c:v>
                </c:pt>
                <c:pt idx="364">
                  <c:v>927.2</c:v>
                </c:pt>
                <c:pt idx="365">
                  <c:v>927.13</c:v>
                </c:pt>
                <c:pt idx="366">
                  <c:v>938.11</c:v>
                </c:pt>
                <c:pt idx="367">
                  <c:v>948.36</c:v>
                </c:pt>
                <c:pt idx="368">
                  <c:v>946.26</c:v>
                </c:pt>
                <c:pt idx="369">
                  <c:v>945.59</c:v>
                </c:pt>
                <c:pt idx="370">
                  <c:v>954.74</c:v>
                </c:pt>
                <c:pt idx="371">
                  <c:v>948.68</c:v>
                </c:pt>
                <c:pt idx="372">
                  <c:v>955.22</c:v>
                </c:pt>
                <c:pt idx="373">
                  <c:v>963.45</c:v>
                </c:pt>
                <c:pt idx="374">
                  <c:v>967.8</c:v>
                </c:pt>
                <c:pt idx="375">
                  <c:v>967.98</c:v>
                </c:pt>
                <c:pt idx="376">
                  <c:v>970.1</c:v>
                </c:pt>
                <c:pt idx="377">
                  <c:v>980.51</c:v>
                </c:pt>
                <c:pt idx="378">
                  <c:v>967.33</c:v>
                </c:pt>
                <c:pt idx="379">
                  <c:v>968.33</c:v>
                </c:pt>
                <c:pt idx="380">
                  <c:v>975.74</c:v>
                </c:pt>
                <c:pt idx="381">
                  <c:v>975.9</c:v>
                </c:pt>
                <c:pt idx="382">
                  <c:v>965.31</c:v>
                </c:pt>
                <c:pt idx="383">
                  <c:v>953.1</c:v>
                </c:pt>
                <c:pt idx="384">
                  <c:v>961.27</c:v>
                </c:pt>
                <c:pt idx="385">
                  <c:v>954.39</c:v>
                </c:pt>
                <c:pt idx="386">
                  <c:v>949.85</c:v>
                </c:pt>
                <c:pt idx="387">
                  <c:v>972.27</c:v>
                </c:pt>
                <c:pt idx="388">
                  <c:v>985.76</c:v>
                </c:pt>
                <c:pt idx="389">
                  <c:v>978.59</c:v>
                </c:pt>
                <c:pt idx="390">
                  <c:v>970.18</c:v>
                </c:pt>
                <c:pt idx="391">
                  <c:v>971.19</c:v>
                </c:pt>
                <c:pt idx="392">
                  <c:v>978.57</c:v>
                </c:pt>
                <c:pt idx="393">
                  <c:v>967.77</c:v>
                </c:pt>
                <c:pt idx="394">
                  <c:v>968.42</c:v>
                </c:pt>
                <c:pt idx="395">
                  <c:v>974.13</c:v>
                </c:pt>
                <c:pt idx="396">
                  <c:v>972.15</c:v>
                </c:pt>
                <c:pt idx="397">
                  <c:v>968.72</c:v>
                </c:pt>
                <c:pt idx="398">
                  <c:v>975.96</c:v>
                </c:pt>
                <c:pt idx="399">
                  <c:v>980.77</c:v>
                </c:pt>
                <c:pt idx="400">
                  <c:v>974.42</c:v>
                </c:pt>
                <c:pt idx="401">
                  <c:v>961.68</c:v>
                </c:pt>
                <c:pt idx="402">
                  <c:v>950.64</c:v>
                </c:pt>
                <c:pt idx="403">
                  <c:v>952.78</c:v>
                </c:pt>
                <c:pt idx="404">
                  <c:v>952.97</c:v>
                </c:pt>
                <c:pt idx="405">
                  <c:v>950.16</c:v>
                </c:pt>
                <c:pt idx="406">
                  <c:v>941</c:v>
                </c:pt>
                <c:pt idx="407">
                  <c:v>941.11</c:v>
                </c:pt>
                <c:pt idx="408">
                  <c:v>917.89</c:v>
                </c:pt>
                <c:pt idx="409">
                  <c:v>924.58</c:v>
                </c:pt>
                <c:pt idx="410">
                  <c:v>930.02</c:v>
                </c:pt>
                <c:pt idx="411">
                  <c:v>927.43</c:v>
                </c:pt>
                <c:pt idx="412">
                  <c:v>929.11</c:v>
                </c:pt>
                <c:pt idx="413">
                  <c:v>941.94</c:v>
                </c:pt>
                <c:pt idx="414">
                  <c:v>934.32</c:v>
                </c:pt>
                <c:pt idx="415">
                  <c:v>942.35</c:v>
                </c:pt>
                <c:pt idx="416">
                  <c:v>929.36</c:v>
                </c:pt>
                <c:pt idx="417">
                  <c:v>927.02</c:v>
                </c:pt>
                <c:pt idx="418">
                  <c:v>924.49</c:v>
                </c:pt>
                <c:pt idx="419">
                  <c:v>924.17</c:v>
                </c:pt>
                <c:pt idx="420">
                  <c:v>931.65</c:v>
                </c:pt>
                <c:pt idx="421">
                  <c:v>934.8</c:v>
                </c:pt>
                <c:pt idx="422">
                  <c:v>935.81</c:v>
                </c:pt>
                <c:pt idx="423">
                  <c:v>929.01</c:v>
                </c:pt>
                <c:pt idx="424">
                  <c:v>938.02</c:v>
                </c:pt>
                <c:pt idx="425">
                  <c:v>947.87</c:v>
                </c:pt>
                <c:pt idx="426">
                  <c:v>947.65</c:v>
                </c:pt>
                <c:pt idx="427">
                  <c:v>945.64</c:v>
                </c:pt>
                <c:pt idx="428">
                  <c:v>935.11</c:v>
                </c:pt>
                <c:pt idx="429">
                  <c:v>937.95</c:v>
                </c:pt>
                <c:pt idx="430">
                  <c:v>967.74</c:v>
                </c:pt>
                <c:pt idx="431">
                  <c:v>967.56</c:v>
                </c:pt>
                <c:pt idx="432">
                  <c:v>966.33</c:v>
                </c:pt>
                <c:pt idx="433">
                  <c:v>970.59</c:v>
                </c:pt>
                <c:pt idx="434">
                  <c:v>968.92</c:v>
                </c:pt>
                <c:pt idx="435">
                  <c:v>967.64</c:v>
                </c:pt>
                <c:pt idx="436">
                  <c:v>967.24</c:v>
                </c:pt>
                <c:pt idx="437">
                  <c:v>967.4</c:v>
                </c:pt>
                <c:pt idx="438">
                  <c:v>982.3</c:v>
                </c:pt>
                <c:pt idx="439">
                  <c:v>982.64</c:v>
                </c:pt>
                <c:pt idx="440">
                  <c:v>982.64</c:v>
                </c:pt>
                <c:pt idx="441">
                  <c:v>999.8</c:v>
                </c:pt>
                <c:pt idx="442">
                  <c:v>996</c:v>
                </c:pt>
                <c:pt idx="443">
                  <c:v>992.78</c:v>
                </c:pt>
                <c:pt idx="444">
                  <c:v>989.26</c:v>
                </c:pt>
                <c:pt idx="445">
                  <c:v>996.72</c:v>
                </c:pt>
                <c:pt idx="446">
                  <c:v>990.6</c:v>
                </c:pt>
                <c:pt idx="447">
                  <c:v>979.42</c:v>
                </c:pt>
                <c:pt idx="448">
                  <c:v>996.2</c:v>
                </c:pt>
                <c:pt idx="449">
                  <c:v>1001.96</c:v>
                </c:pt>
                <c:pt idx="450">
                  <c:v>1003.58</c:v>
                </c:pt>
                <c:pt idx="451">
                  <c:v>1006.98</c:v>
                </c:pt>
                <c:pt idx="452">
                  <c:v>1009.4</c:v>
                </c:pt>
                <c:pt idx="453">
                  <c:v>1016.08</c:v>
                </c:pt>
                <c:pt idx="454">
                  <c:v>1013.78</c:v>
                </c:pt>
                <c:pt idx="455">
                  <c:v>1006.02</c:v>
                </c:pt>
                <c:pt idx="456">
                  <c:v>1003.57</c:v>
                </c:pt>
                <c:pt idx="457">
                  <c:v>999.41</c:v>
                </c:pt>
                <c:pt idx="458">
                  <c:v>990.11</c:v>
                </c:pt>
                <c:pt idx="459">
                  <c:v>984.83</c:v>
                </c:pt>
                <c:pt idx="460">
                  <c:v>986.03</c:v>
                </c:pt>
                <c:pt idx="461">
                  <c:v>984.54</c:v>
                </c:pt>
                <c:pt idx="462">
                  <c:v>986.89</c:v>
                </c:pt>
                <c:pt idx="463">
                  <c:v>985.65</c:v>
                </c:pt>
                <c:pt idx="464">
                  <c:v>957.83</c:v>
                </c:pt>
                <c:pt idx="465">
                  <c:v>959.68</c:v>
                </c:pt>
                <c:pt idx="466">
                  <c:v>960.2</c:v>
                </c:pt>
                <c:pt idx="467">
                  <c:v>957.49</c:v>
                </c:pt>
                <c:pt idx="468">
                  <c:v>961.75</c:v>
                </c:pt>
                <c:pt idx="469">
                  <c:v>971.16</c:v>
                </c:pt>
                <c:pt idx="470">
                  <c:v>982.46</c:v>
                </c:pt>
                <c:pt idx="471">
                  <c:v>982.64</c:v>
                </c:pt>
                <c:pt idx="472">
                  <c:v>989.91</c:v>
                </c:pt>
                <c:pt idx="473">
                  <c:v>992.7</c:v>
                </c:pt>
                <c:pt idx="474">
                  <c:v>1000.51</c:v>
                </c:pt>
                <c:pt idx="475">
                  <c:v>993.68</c:v>
                </c:pt>
                <c:pt idx="476">
                  <c:v>998.95</c:v>
                </c:pt>
                <c:pt idx="477">
                  <c:v>989.86</c:v>
                </c:pt>
                <c:pt idx="478">
                  <c:v>985.18</c:v>
                </c:pt>
                <c:pt idx="479">
                  <c:v>981</c:v>
                </c:pt>
                <c:pt idx="480">
                  <c:v>984.32</c:v>
                </c:pt>
                <c:pt idx="481">
                  <c:v>975.07</c:v>
                </c:pt>
                <c:pt idx="482">
                  <c:v>981.66</c:v>
                </c:pt>
                <c:pt idx="483">
                  <c:v>987.85</c:v>
                </c:pt>
                <c:pt idx="484">
                  <c:v>986.55</c:v>
                </c:pt>
                <c:pt idx="485">
                  <c:v>992.85</c:v>
                </c:pt>
                <c:pt idx="486">
                  <c:v>993.83</c:v>
                </c:pt>
                <c:pt idx="487">
                  <c:v>995.03</c:v>
                </c:pt>
                <c:pt idx="488">
                  <c:v>992.74</c:v>
                </c:pt>
                <c:pt idx="489">
                  <c:v>989.83</c:v>
                </c:pt>
                <c:pt idx="490">
                  <c:v>984.95</c:v>
                </c:pt>
                <c:pt idx="491">
                  <c:v>999.67</c:v>
                </c:pt>
                <c:pt idx="492">
                  <c:v>994.26</c:v>
                </c:pt>
                <c:pt idx="493">
                  <c:v>1005.38</c:v>
                </c:pt>
                <c:pt idx="494">
                  <c:v>1003.66</c:v>
                </c:pt>
                <c:pt idx="495">
                  <c:v>998.24</c:v>
                </c:pt>
                <c:pt idx="496">
                  <c:v>1010.91</c:v>
                </c:pt>
                <c:pt idx="497">
                  <c:v>1011.96</c:v>
                </c:pt>
                <c:pt idx="498">
                  <c:v>1014.21</c:v>
                </c:pt>
                <c:pt idx="499">
                  <c:v>1021.88</c:v>
                </c:pt>
                <c:pt idx="500">
                  <c:v>1018.73</c:v>
                </c:pt>
                <c:pt idx="501">
                  <c:v>1024.1600000000001</c:v>
                </c:pt>
                <c:pt idx="502">
                  <c:v>1021.43</c:v>
                </c:pt>
                <c:pt idx="503">
                  <c:v>1033.57</c:v>
                </c:pt>
                <c:pt idx="504">
                  <c:v>1037.03</c:v>
                </c:pt>
                <c:pt idx="505">
                  <c:v>1035.1099999999999</c:v>
                </c:pt>
                <c:pt idx="506">
                  <c:v>1049.54</c:v>
                </c:pt>
                <c:pt idx="507">
                  <c:v>1039.44</c:v>
                </c:pt>
                <c:pt idx="508">
                  <c:v>1041.71</c:v>
                </c:pt>
                <c:pt idx="509">
                  <c:v>1048.23</c:v>
                </c:pt>
                <c:pt idx="510">
                  <c:v>1058.96</c:v>
                </c:pt>
                <c:pt idx="511">
                  <c:v>1057.1600000000001</c:v>
                </c:pt>
                <c:pt idx="512">
                  <c:v>1061</c:v>
                </c:pt>
                <c:pt idx="513">
                  <c:v>1060.3499999999999</c:v>
                </c:pt>
                <c:pt idx="514">
                  <c:v>1065.1099999999999</c:v>
                </c:pt>
                <c:pt idx="515">
                  <c:v>1062.81</c:v>
                </c:pt>
                <c:pt idx="516">
                  <c:v>1056.8699999999999</c:v>
                </c:pt>
                <c:pt idx="517">
                  <c:v>1061.8699999999999</c:v>
                </c:pt>
                <c:pt idx="518">
                  <c:v>1066.46</c:v>
                </c:pt>
                <c:pt idx="519">
                  <c:v>1058.44</c:v>
                </c:pt>
                <c:pt idx="520">
                  <c:v>1057.49</c:v>
                </c:pt>
                <c:pt idx="521">
                  <c:v>1066.05</c:v>
                </c:pt>
                <c:pt idx="522">
                  <c:v>1080.4100000000001</c:v>
                </c:pt>
                <c:pt idx="523">
                  <c:v>1074.19</c:v>
                </c:pt>
                <c:pt idx="524">
                  <c:v>1086.26</c:v>
                </c:pt>
                <c:pt idx="525">
                  <c:v>1086.3900000000001</c:v>
                </c:pt>
                <c:pt idx="526">
                  <c:v>1096.98</c:v>
                </c:pt>
                <c:pt idx="527">
                  <c:v>1108.45</c:v>
                </c:pt>
                <c:pt idx="528">
                  <c:v>1101.56</c:v>
                </c:pt>
                <c:pt idx="529">
                  <c:v>1111.5899999999999</c:v>
                </c:pt>
                <c:pt idx="530">
                  <c:v>1111.24</c:v>
                </c:pt>
                <c:pt idx="531">
                  <c:v>1112.6099999999999</c:v>
                </c:pt>
                <c:pt idx="532">
                  <c:v>1110.9000000000001</c:v>
                </c:pt>
                <c:pt idx="533">
                  <c:v>1114.53</c:v>
                </c:pt>
                <c:pt idx="534">
                  <c:v>1115.32</c:v>
                </c:pt>
                <c:pt idx="535">
                  <c:v>1118.03</c:v>
                </c:pt>
                <c:pt idx="536">
                  <c:v>1125.0899999999999</c:v>
                </c:pt>
                <c:pt idx="537">
                  <c:v>1133.26</c:v>
                </c:pt>
                <c:pt idx="538">
                  <c:v>1147.74</c:v>
                </c:pt>
                <c:pt idx="539">
                  <c:v>1155.0899999999999</c:v>
                </c:pt>
                <c:pt idx="540">
                  <c:v>1157.1199999999999</c:v>
                </c:pt>
                <c:pt idx="541">
                  <c:v>1167.94</c:v>
                </c:pt>
                <c:pt idx="542">
                  <c:v>1157.3800000000001</c:v>
                </c:pt>
                <c:pt idx="543">
                  <c:v>1166.92</c:v>
                </c:pt>
                <c:pt idx="544">
                  <c:v>1167.72</c:v>
                </c:pt>
                <c:pt idx="545">
                  <c:v>1190.0999999999999</c:v>
                </c:pt>
                <c:pt idx="546">
                  <c:v>1188.23</c:v>
                </c:pt>
                <c:pt idx="547">
                  <c:v>1179.7</c:v>
                </c:pt>
                <c:pt idx="548">
                  <c:v>1197.03</c:v>
                </c:pt>
                <c:pt idx="549">
                  <c:v>1179.43</c:v>
                </c:pt>
                <c:pt idx="550">
                  <c:v>1161.24</c:v>
                </c:pt>
                <c:pt idx="551">
                  <c:v>1146.51</c:v>
                </c:pt>
                <c:pt idx="552">
                  <c:v>1160.74</c:v>
                </c:pt>
                <c:pt idx="553">
                  <c:v>1159.96</c:v>
                </c:pt>
                <c:pt idx="554">
                  <c:v>1157.31</c:v>
                </c:pt>
                <c:pt idx="555">
                  <c:v>1164.1600000000001</c:v>
                </c:pt>
                <c:pt idx="556">
                  <c:v>1159.1500000000001</c:v>
                </c:pt>
                <c:pt idx="557">
                  <c:v>1161.6500000000001</c:v>
                </c:pt>
                <c:pt idx="558">
                  <c:v>1151.99</c:v>
                </c:pt>
                <c:pt idx="559">
                  <c:v>1154.4100000000001</c:v>
                </c:pt>
                <c:pt idx="560">
                  <c:v>1154.22</c:v>
                </c:pt>
                <c:pt idx="561">
                  <c:v>1160.3599999999999</c:v>
                </c:pt>
                <c:pt idx="562">
                  <c:v>1164.99</c:v>
                </c:pt>
                <c:pt idx="563">
                  <c:v>1162.1300000000001</c:v>
                </c:pt>
                <c:pt idx="564">
                  <c:v>1151.32</c:v>
                </c:pt>
                <c:pt idx="565">
                  <c:v>1153.43</c:v>
                </c:pt>
                <c:pt idx="566">
                  <c:v>1152.6199999999999</c:v>
                </c:pt>
                <c:pt idx="567">
                  <c:v>1136.6300000000001</c:v>
                </c:pt>
                <c:pt idx="568">
                  <c:v>1140.97</c:v>
                </c:pt>
                <c:pt idx="569">
                  <c:v>1135.71</c:v>
                </c:pt>
                <c:pt idx="570">
                  <c:v>1134.0899999999999</c:v>
                </c:pt>
                <c:pt idx="571">
                  <c:v>1129.3800000000001</c:v>
                </c:pt>
                <c:pt idx="572">
                  <c:v>1120.99</c:v>
                </c:pt>
                <c:pt idx="573">
                  <c:v>1123.6400000000001</c:v>
                </c:pt>
                <c:pt idx="574">
                  <c:v>1125.99</c:v>
                </c:pt>
                <c:pt idx="575">
                  <c:v>1131.6500000000001</c:v>
                </c:pt>
                <c:pt idx="576">
                  <c:v>1140.6099999999999</c:v>
                </c:pt>
                <c:pt idx="577">
                  <c:v>1139.04</c:v>
                </c:pt>
                <c:pt idx="578">
                  <c:v>1141.99</c:v>
                </c:pt>
                <c:pt idx="579">
                  <c:v>1148.19</c:v>
                </c:pt>
                <c:pt idx="580">
                  <c:v>1146.74</c:v>
                </c:pt>
                <c:pt idx="581">
                  <c:v>1148.74</c:v>
                </c:pt>
                <c:pt idx="582">
                  <c:v>1152.51</c:v>
                </c:pt>
                <c:pt idx="583">
                  <c:v>1159.77</c:v>
                </c:pt>
                <c:pt idx="584">
                  <c:v>1164.5</c:v>
                </c:pt>
                <c:pt idx="585">
                  <c:v>1166.82</c:v>
                </c:pt>
                <c:pt idx="586">
                  <c:v>1177.56</c:v>
                </c:pt>
                <c:pt idx="587">
                  <c:v>1182.52</c:v>
                </c:pt>
                <c:pt idx="588">
                  <c:v>1183.8900000000001</c:v>
                </c:pt>
                <c:pt idx="589">
                  <c:v>1199.53</c:v>
                </c:pt>
                <c:pt idx="590">
                  <c:v>1190.33</c:v>
                </c:pt>
                <c:pt idx="591">
                  <c:v>1190.27</c:v>
                </c:pt>
                <c:pt idx="592">
                  <c:v>1193.68</c:v>
                </c:pt>
                <c:pt idx="593">
                  <c:v>1195.82</c:v>
                </c:pt>
                <c:pt idx="594">
                  <c:v>1186.08</c:v>
                </c:pt>
                <c:pt idx="595">
                  <c:v>1181.42</c:v>
                </c:pt>
                <c:pt idx="596">
                  <c:v>1182.05</c:v>
                </c:pt>
                <c:pt idx="597">
                  <c:v>1172.54</c:v>
                </c:pt>
                <c:pt idx="598">
                  <c:v>1174.8</c:v>
                </c:pt>
                <c:pt idx="599">
                  <c:v>1164.8399999999999</c:v>
                </c:pt>
                <c:pt idx="600">
                  <c:v>1162.21</c:v>
                </c:pt>
                <c:pt idx="601">
                  <c:v>1182.58</c:v>
                </c:pt>
                <c:pt idx="602">
                  <c:v>1193.29</c:v>
                </c:pt>
                <c:pt idx="603">
                  <c:v>1180.23</c:v>
                </c:pt>
                <c:pt idx="604">
                  <c:v>1177.8800000000001</c:v>
                </c:pt>
                <c:pt idx="605">
                  <c:v>1181.28</c:v>
                </c:pt>
                <c:pt idx="606">
                  <c:v>1199.26</c:v>
                </c:pt>
                <c:pt idx="607">
                  <c:v>1198.8599999999999</c:v>
                </c:pt>
                <c:pt idx="608">
                  <c:v>1201.1199999999999</c:v>
                </c:pt>
                <c:pt idx="609">
                  <c:v>1208.75</c:v>
                </c:pt>
                <c:pt idx="610">
                  <c:v>1203.1099999999999</c:v>
                </c:pt>
                <c:pt idx="611">
                  <c:v>1217.3800000000001</c:v>
                </c:pt>
                <c:pt idx="612">
                  <c:v>1217.52</c:v>
                </c:pt>
                <c:pt idx="613">
                  <c:v>1230.3499999999999</c:v>
                </c:pt>
                <c:pt idx="614">
                  <c:v>1231.3900000000001</c:v>
                </c:pt>
                <c:pt idx="615">
                  <c:v>1228.8800000000001</c:v>
                </c:pt>
                <c:pt idx="616">
                  <c:v>1230.25</c:v>
                </c:pt>
                <c:pt idx="617">
                  <c:v>1250.45</c:v>
                </c:pt>
                <c:pt idx="618">
                  <c:v>1243.76</c:v>
                </c:pt>
                <c:pt idx="619">
                  <c:v>1252.99</c:v>
                </c:pt>
                <c:pt idx="620">
                  <c:v>1252.9000000000001</c:v>
                </c:pt>
                <c:pt idx="621">
                  <c:v>1263.9100000000001</c:v>
                </c:pt>
                <c:pt idx="622">
                  <c:v>1258.21</c:v>
                </c:pt>
                <c:pt idx="623">
                  <c:v>1252.1300000000001</c:v>
                </c:pt>
                <c:pt idx="624">
                  <c:v>1225.76</c:v>
                </c:pt>
                <c:pt idx="625">
                  <c:v>1218.25</c:v>
                </c:pt>
                <c:pt idx="626">
                  <c:v>1217.79</c:v>
                </c:pt>
                <c:pt idx="627">
                  <c:v>1227.22</c:v>
                </c:pt>
                <c:pt idx="628">
                  <c:v>1224.07</c:v>
                </c:pt>
                <c:pt idx="629">
                  <c:v>1227.3699999999999</c:v>
                </c:pt>
                <c:pt idx="630">
                  <c:v>1210.33</c:v>
                </c:pt>
                <c:pt idx="631">
                  <c:v>1190.08</c:v>
                </c:pt>
                <c:pt idx="632">
                  <c:v>1178.02</c:v>
                </c:pt>
                <c:pt idx="633">
                  <c:v>1198.72</c:v>
                </c:pt>
                <c:pt idx="634">
                  <c:v>1205.95</c:v>
                </c:pt>
                <c:pt idx="635">
                  <c:v>1207.46</c:v>
                </c:pt>
                <c:pt idx="636">
                  <c:v>1221.3399999999999</c:v>
                </c:pt>
                <c:pt idx="637">
                  <c:v>1216.21</c:v>
                </c:pt>
                <c:pt idx="638">
                  <c:v>1205.8599999999999</c:v>
                </c:pt>
                <c:pt idx="639">
                  <c:v>1208.58</c:v>
                </c:pt>
                <c:pt idx="640">
                  <c:v>1210.17</c:v>
                </c:pt>
                <c:pt idx="641">
                  <c:v>1217.3900000000001</c:v>
                </c:pt>
                <c:pt idx="642">
                  <c:v>1232.1500000000001</c:v>
                </c:pt>
                <c:pt idx="643">
                  <c:v>1243.8399999999999</c:v>
                </c:pt>
                <c:pt idx="644">
                  <c:v>1246.54</c:v>
                </c:pt>
                <c:pt idx="645">
                  <c:v>1252.92</c:v>
                </c:pt>
                <c:pt idx="646">
                  <c:v>1247.8699999999999</c:v>
                </c:pt>
                <c:pt idx="647">
                  <c:v>1243.57</c:v>
                </c:pt>
                <c:pt idx="648">
                  <c:v>1260.8800000000001</c:v>
                </c:pt>
                <c:pt idx="649">
                  <c:v>1269.98</c:v>
                </c:pt>
                <c:pt idx="650">
                  <c:v>1270.22</c:v>
                </c:pt>
                <c:pt idx="651">
                  <c:v>1272.54</c:v>
                </c:pt>
                <c:pt idx="652">
                  <c:v>1272.6199999999999</c:v>
                </c:pt>
                <c:pt idx="653">
                  <c:v>1268.74</c:v>
                </c:pt>
                <c:pt idx="654">
                  <c:v>1275.06</c:v>
                </c:pt>
                <c:pt idx="655">
                  <c:v>1292.1300000000001</c:v>
                </c:pt>
                <c:pt idx="656">
                  <c:v>1282.3399999999999</c:v>
                </c:pt>
                <c:pt idx="657">
                  <c:v>1287.1600000000001</c:v>
                </c:pt>
                <c:pt idx="658">
                  <c:v>1300.97</c:v>
                </c:pt>
                <c:pt idx="659">
                  <c:v>1308.47</c:v>
                </c:pt>
                <c:pt idx="660">
                  <c:v>1303.7</c:v>
                </c:pt>
                <c:pt idx="661">
                  <c:v>1301.18</c:v>
                </c:pt>
                <c:pt idx="662">
                  <c:v>1299.23</c:v>
                </c:pt>
                <c:pt idx="663">
                  <c:v>1306.08</c:v>
                </c:pt>
                <c:pt idx="664">
                  <c:v>1309.81</c:v>
                </c:pt>
                <c:pt idx="665">
                  <c:v>1320.86</c:v>
                </c:pt>
                <c:pt idx="666">
                  <c:v>1321.27</c:v>
                </c:pt>
                <c:pt idx="667">
                  <c:v>1324.71</c:v>
                </c:pt>
                <c:pt idx="668">
                  <c:v>1326.77</c:v>
                </c:pt>
                <c:pt idx="669">
                  <c:v>1329.74</c:v>
                </c:pt>
                <c:pt idx="670">
                  <c:v>1329.52</c:v>
                </c:pt>
                <c:pt idx="671">
                  <c:v>1342.53</c:v>
                </c:pt>
                <c:pt idx="672">
                  <c:v>1349.93</c:v>
                </c:pt>
                <c:pt idx="673">
                  <c:v>1361.87</c:v>
                </c:pt>
                <c:pt idx="674">
                  <c:v>1359.85</c:v>
                </c:pt>
                <c:pt idx="675">
                  <c:v>1351</c:v>
                </c:pt>
                <c:pt idx="676">
                  <c:v>1343.14</c:v>
                </c:pt>
                <c:pt idx="677">
                  <c:v>1323.88</c:v>
                </c:pt>
                <c:pt idx="678">
                  <c:v>1297.68</c:v>
                </c:pt>
                <c:pt idx="679">
                  <c:v>1310.89</c:v>
                </c:pt>
                <c:pt idx="680">
                  <c:v>1318.43</c:v>
                </c:pt>
                <c:pt idx="681">
                  <c:v>1313.25</c:v>
                </c:pt>
                <c:pt idx="682">
                  <c:v>1296.53</c:v>
                </c:pt>
                <c:pt idx="683">
                  <c:v>1297.8800000000001</c:v>
                </c:pt>
                <c:pt idx="684">
                  <c:v>1295.8399999999999</c:v>
                </c:pt>
                <c:pt idx="685">
                  <c:v>1297.42</c:v>
                </c:pt>
                <c:pt idx="686">
                  <c:v>1308.57</c:v>
                </c:pt>
                <c:pt idx="687">
                  <c:v>1317.47</c:v>
                </c:pt>
                <c:pt idx="688">
                  <c:v>1331.27</c:v>
                </c:pt>
                <c:pt idx="689">
                  <c:v>1320.63</c:v>
                </c:pt>
                <c:pt idx="690">
                  <c:v>1339.95</c:v>
                </c:pt>
                <c:pt idx="691">
                  <c:v>1336</c:v>
                </c:pt>
                <c:pt idx="692">
                  <c:v>1334.26</c:v>
                </c:pt>
                <c:pt idx="693">
                  <c:v>1349.87</c:v>
                </c:pt>
                <c:pt idx="694">
                  <c:v>1341.62</c:v>
                </c:pt>
                <c:pt idx="695">
                  <c:v>1341.29</c:v>
                </c:pt>
                <c:pt idx="696">
                  <c:v>1356.54</c:v>
                </c:pt>
                <c:pt idx="697">
                  <c:v>1358.27</c:v>
                </c:pt>
                <c:pt idx="698">
                  <c:v>1332.86</c:v>
                </c:pt>
                <c:pt idx="699">
                  <c:v>1334.25</c:v>
                </c:pt>
                <c:pt idx="700">
                  <c:v>1342.65</c:v>
                </c:pt>
                <c:pt idx="701">
                  <c:v>1356.56</c:v>
                </c:pt>
                <c:pt idx="702">
                  <c:v>1367.57</c:v>
                </c:pt>
                <c:pt idx="703">
                  <c:v>1368.84</c:v>
                </c:pt>
                <c:pt idx="704">
                  <c:v>1358.81</c:v>
                </c:pt>
                <c:pt idx="705">
                  <c:v>1346.83</c:v>
                </c:pt>
                <c:pt idx="706">
                  <c:v>1361.24</c:v>
                </c:pt>
                <c:pt idx="707">
                  <c:v>1354.9</c:v>
                </c:pt>
                <c:pt idx="708">
                  <c:v>1343.61</c:v>
                </c:pt>
                <c:pt idx="709">
                  <c:v>1342.58</c:v>
                </c:pt>
                <c:pt idx="710">
                  <c:v>1333.72</c:v>
                </c:pt>
                <c:pt idx="711">
                  <c:v>1337.27</c:v>
                </c:pt>
                <c:pt idx="712">
                  <c:v>1333.52</c:v>
                </c:pt>
                <c:pt idx="713">
                  <c:v>1327.53</c:v>
                </c:pt>
                <c:pt idx="714">
                  <c:v>1329.4</c:v>
                </c:pt>
                <c:pt idx="715">
                  <c:v>1324.85</c:v>
                </c:pt>
                <c:pt idx="716">
                  <c:v>1327.05</c:v>
                </c:pt>
                <c:pt idx="717">
                  <c:v>1318.05</c:v>
                </c:pt>
                <c:pt idx="718">
                  <c:v>1303.99</c:v>
                </c:pt>
                <c:pt idx="719">
                  <c:v>1302.49</c:v>
                </c:pt>
                <c:pt idx="720">
                  <c:v>1306.02</c:v>
                </c:pt>
                <c:pt idx="721">
                  <c:v>1302.33</c:v>
                </c:pt>
                <c:pt idx="722">
                  <c:v>1300.6600000000001</c:v>
                </c:pt>
                <c:pt idx="723">
                  <c:v>1318.77</c:v>
                </c:pt>
                <c:pt idx="724">
                  <c:v>1319.5</c:v>
                </c:pt>
                <c:pt idx="725">
                  <c:v>1325.55</c:v>
                </c:pt>
                <c:pt idx="726">
                  <c:v>1329.96</c:v>
                </c:pt>
                <c:pt idx="727">
                  <c:v>1333.84</c:v>
                </c:pt>
                <c:pt idx="728">
                  <c:v>1329.36</c:v>
                </c:pt>
                <c:pt idx="729">
                  <c:v>1325.45</c:v>
                </c:pt>
                <c:pt idx="730">
                  <c:v>1334.98</c:v>
                </c:pt>
                <c:pt idx="731">
                  <c:v>1344.89</c:v>
                </c:pt>
                <c:pt idx="732">
                  <c:v>1343.09</c:v>
                </c:pt>
                <c:pt idx="733">
                  <c:v>1338.28</c:v>
                </c:pt>
                <c:pt idx="734">
                  <c:v>1341.7</c:v>
                </c:pt>
                <c:pt idx="735">
                  <c:v>1353.63</c:v>
                </c:pt>
                <c:pt idx="736">
                  <c:v>1361.74</c:v>
                </c:pt>
                <c:pt idx="737">
                  <c:v>1353.86</c:v>
                </c:pt>
                <c:pt idx="738">
                  <c:v>1341.59</c:v>
                </c:pt>
                <c:pt idx="739">
                  <c:v>1355.99</c:v>
                </c:pt>
                <c:pt idx="740">
                  <c:v>1359.6</c:v>
                </c:pt>
                <c:pt idx="741">
                  <c:v>1356.12</c:v>
                </c:pt>
                <c:pt idx="742">
                  <c:v>1350.88</c:v>
                </c:pt>
                <c:pt idx="743">
                  <c:v>1352.53</c:v>
                </c:pt>
                <c:pt idx="744">
                  <c:v>1353.99</c:v>
                </c:pt>
                <c:pt idx="745">
                  <c:v>1353.7</c:v>
                </c:pt>
                <c:pt idx="746">
                  <c:v>1341.79</c:v>
                </c:pt>
                <c:pt idx="747">
                  <c:v>1337.28</c:v>
                </c:pt>
                <c:pt idx="748">
                  <c:v>1340.34</c:v>
                </c:pt>
                <c:pt idx="749">
                  <c:v>1346.01</c:v>
                </c:pt>
                <c:pt idx="750">
                  <c:v>1346.15</c:v>
                </c:pt>
                <c:pt idx="751">
                  <c:v>1350.43</c:v>
                </c:pt>
                <c:pt idx="752">
                  <c:v>1347.65</c:v>
                </c:pt>
                <c:pt idx="753">
                  <c:v>1352.83</c:v>
                </c:pt>
                <c:pt idx="754" formatCode="0.00">
                  <c:v>1354.13</c:v>
                </c:pt>
                <c:pt idx="755" formatCode="0.00">
                  <c:v>1331.78</c:v>
                </c:pt>
                <c:pt idx="756" formatCode="0.00">
                  <c:v>1305.28</c:v>
                </c:pt>
                <c:pt idx="757" formatCode="0.00">
                  <c:v>1332.22</c:v>
                </c:pt>
                <c:pt idx="758" formatCode="0.00">
                  <c:v>1350.57</c:v>
                </c:pt>
                <c:pt idx="759" formatCode="0.00">
                  <c:v>1348.97</c:v>
                </c:pt>
                <c:pt idx="760" formatCode="0.00">
                  <c:v>1355.3</c:v>
                </c:pt>
                <c:pt idx="761" formatCode="0.00">
                  <c:v>1359.89</c:v>
                </c:pt>
                <c:pt idx="762" formatCode="0.00">
                  <c:v>1365.66</c:v>
                </c:pt>
                <c:pt idx="763" formatCode="0.00">
                  <c:v>1373.13</c:v>
                </c:pt>
                <c:pt idx="764" formatCode="0.00">
                  <c:v>1382.94</c:v>
                </c:pt>
                <c:pt idx="765" formatCode="0.00">
                  <c:v>1389.38</c:v>
                </c:pt>
                <c:pt idx="766" formatCode="0.00">
                  <c:v>1385.77</c:v>
                </c:pt>
                <c:pt idx="767" formatCode="0.00">
                  <c:v>1381.22</c:v>
                </c:pt>
                <c:pt idx="768" formatCode="0.00">
                  <c:v>1386.69</c:v>
                </c:pt>
                <c:pt idx="769" formatCode="0.00">
                  <c:v>1384.73</c:v>
                </c:pt>
                <c:pt idx="770" formatCode="0.00">
                  <c:v>1401.28</c:v>
                </c:pt>
                <c:pt idx="771" formatCode="0.00">
                  <c:v>1395.01</c:v>
                </c:pt>
                <c:pt idx="772" formatCode="0.00">
                  <c:v>1393.16</c:v>
                </c:pt>
                <c:pt idx="773" formatCode="0.00">
                  <c:v>1379.17</c:v>
                </c:pt>
                <c:pt idx="774" formatCode="0.00">
                  <c:v>1380.9</c:v>
                </c:pt>
                <c:pt idx="775">
                  <c:v>1380.62</c:v>
                </c:pt>
                <c:pt idx="776">
                  <c:v>1366.86</c:v>
                </c:pt>
                <c:pt idx="777">
                  <c:v>1365.82</c:v>
                </c:pt>
                <c:pt idx="778">
                  <c:v>1362.7</c:v>
                </c:pt>
                <c:pt idx="779">
                  <c:v>1361.84</c:v>
                </c:pt>
                <c:pt idx="780">
                  <c:v>1360.12</c:v>
                </c:pt>
                <c:pt idx="781">
                  <c:v>1354.52</c:v>
                </c:pt>
                <c:pt idx="782">
                  <c:v>1360.41</c:v>
                </c:pt>
                <c:pt idx="783">
                  <c:v>1365.98</c:v>
                </c:pt>
                <c:pt idx="784">
                  <c:v>1365.33</c:v>
                </c:pt>
                <c:pt idx="785">
                  <c:v>1364.82</c:v>
                </c:pt>
                <c:pt idx="786">
                  <c:v>1364.67</c:v>
                </c:pt>
                <c:pt idx="787">
                  <c:v>1377.7</c:v>
                </c:pt>
                <c:pt idx="788">
                  <c:v>1390.19</c:v>
                </c:pt>
                <c:pt idx="789">
                  <c:v>1383.06</c:v>
                </c:pt>
                <c:pt idx="790">
                  <c:v>1373.01</c:v>
                </c:pt>
                <c:pt idx="791">
                  <c:v>1392.94</c:v>
                </c:pt>
                <c:pt idx="792">
                  <c:v>1379.83</c:v>
                </c:pt>
                <c:pt idx="793">
                  <c:v>1368.34</c:v>
                </c:pt>
                <c:pt idx="794">
                  <c:v>1372.87</c:v>
                </c:pt>
                <c:pt idx="795">
                  <c:v>1367.78</c:v>
                </c:pt>
                <c:pt idx="796">
                  <c:v>1361.13</c:v>
                </c:pt>
                <c:pt idx="797">
                  <c:v>1355.44</c:v>
                </c:pt>
                <c:pt idx="798">
                  <c:v>1367.31</c:v>
                </c:pt>
                <c:pt idx="799">
                  <c:v>1379.46</c:v>
                </c:pt>
                <c:pt idx="800">
                  <c:v>1365.07</c:v>
                </c:pt>
                <c:pt idx="801">
                  <c:v>1364.71</c:v>
                </c:pt>
                <c:pt idx="802">
                  <c:v>1382.58</c:v>
                </c:pt>
                <c:pt idx="803">
                  <c:v>1386.64</c:v>
                </c:pt>
                <c:pt idx="804">
                  <c:v>1386.6</c:v>
                </c:pt>
                <c:pt idx="805">
                  <c:v>1395.65</c:v>
                </c:pt>
                <c:pt idx="806">
                  <c:v>1400.81</c:v>
                </c:pt>
                <c:pt idx="807">
                  <c:v>1404.16</c:v>
                </c:pt>
                <c:pt idx="808">
                  <c:v>1420.76</c:v>
                </c:pt>
                <c:pt idx="809">
                  <c:v>1421.48</c:v>
                </c:pt>
                <c:pt idx="810">
                  <c:v>1435.64</c:v>
                </c:pt>
                <c:pt idx="811">
                  <c:v>1443.83</c:v>
                </c:pt>
                <c:pt idx="812">
                  <c:v>1420.44</c:v>
                </c:pt>
                <c:pt idx="813">
                  <c:v>1428.94</c:v>
                </c:pt>
                <c:pt idx="814">
                  <c:v>1436.75</c:v>
                </c:pt>
                <c:pt idx="815">
                  <c:v>1443.33</c:v>
                </c:pt>
                <c:pt idx="816">
                  <c:v>1437.14</c:v>
                </c:pt>
                <c:pt idx="817">
                  <c:v>1433.81</c:v>
                </c:pt>
                <c:pt idx="818">
                  <c:v>1427.42</c:v>
                </c:pt>
                <c:pt idx="819">
                  <c:v>1413.18</c:v>
                </c:pt>
                <c:pt idx="820">
                  <c:v>1428.28</c:v>
                </c:pt>
                <c:pt idx="821">
                  <c:v>1446.79</c:v>
                </c:pt>
                <c:pt idx="822">
                  <c:v>1453.9</c:v>
                </c:pt>
                <c:pt idx="823">
                  <c:v>1463.08</c:v>
                </c:pt>
                <c:pt idx="824">
                  <c:v>1469.98</c:v>
                </c:pt>
                <c:pt idx="825">
                  <c:v>1464.89</c:v>
                </c:pt>
                <c:pt idx="826">
                  <c:v>1458.29</c:v>
                </c:pt>
                <c:pt idx="827">
                  <c:v>1465.54</c:v>
                </c:pt>
                <c:pt idx="828">
                  <c:v>1474.51</c:v>
                </c:pt>
                <c:pt idx="829">
                  <c:v>1481.5</c:v>
                </c:pt>
                <c:pt idx="830">
                  <c:v>1477.22</c:v>
                </c:pt>
                <c:pt idx="831">
                  <c:v>1487.33</c:v>
                </c:pt>
                <c:pt idx="832">
                  <c:v>1473.74</c:v>
                </c:pt>
                <c:pt idx="833">
                  <c:v>1473.35</c:v>
                </c:pt>
                <c:pt idx="834">
                  <c:v>1468.85</c:v>
                </c:pt>
                <c:pt idx="835">
                  <c:v>1470.11</c:v>
                </c:pt>
                <c:pt idx="836">
                  <c:v>1476.36</c:v>
                </c:pt>
                <c:pt idx="837">
                  <c:v>1481.58</c:v>
                </c:pt>
                <c:pt idx="838">
                  <c:v>1503.05</c:v>
                </c:pt>
                <c:pt idx="839">
                  <c:v>1558</c:v>
                </c:pt>
                <c:pt idx="840">
                  <c:v>1536</c:v>
                </c:pt>
                <c:pt idx="841">
                  <c:v>1538</c:v>
                </c:pt>
                <c:pt idx="842">
                  <c:v>1554</c:v>
                </c:pt>
                <c:pt idx="843">
                  <c:v>1541</c:v>
                </c:pt>
                <c:pt idx="844">
                  <c:v>1539</c:v>
                </c:pt>
                <c:pt idx="845">
                  <c:v>1552</c:v>
                </c:pt>
                <c:pt idx="846">
                  <c:v>1545</c:v>
                </c:pt>
                <c:pt idx="847">
                  <c:v>1542</c:v>
                </c:pt>
                <c:pt idx="848">
                  <c:v>1535</c:v>
                </c:pt>
                <c:pt idx="849">
                  <c:v>1534</c:v>
                </c:pt>
                <c:pt idx="850">
                  <c:v>1547</c:v>
                </c:pt>
                <c:pt idx="851">
                  <c:v>1547</c:v>
                </c:pt>
                <c:pt idx="852">
                  <c:v>1537</c:v>
                </c:pt>
                <c:pt idx="853">
                  <c:v>1523</c:v>
                </c:pt>
                <c:pt idx="854">
                  <c:v>1553</c:v>
                </c:pt>
                <c:pt idx="855">
                  <c:v>1541</c:v>
                </c:pt>
                <c:pt idx="856">
                  <c:v>1541</c:v>
                </c:pt>
                <c:pt idx="857">
                  <c:v>1539</c:v>
                </c:pt>
                <c:pt idx="858">
                  <c:v>1538</c:v>
                </c:pt>
                <c:pt idx="859">
                  <c:v>1547</c:v>
                </c:pt>
                <c:pt idx="860">
                  <c:v>1542</c:v>
                </c:pt>
                <c:pt idx="861">
                  <c:v>1547</c:v>
                </c:pt>
                <c:pt idx="862">
                  <c:v>1550</c:v>
                </c:pt>
                <c:pt idx="863">
                  <c:v>1548</c:v>
                </c:pt>
                <c:pt idx="864">
                  <c:v>1517</c:v>
                </c:pt>
                <c:pt idx="865">
                  <c:v>1546</c:v>
                </c:pt>
                <c:pt idx="866">
                  <c:v>1560</c:v>
                </c:pt>
                <c:pt idx="867">
                  <c:v>1542</c:v>
                </c:pt>
                <c:pt idx="868">
                  <c:v>1547</c:v>
                </c:pt>
                <c:pt idx="869">
                  <c:v>1546</c:v>
                </c:pt>
                <c:pt idx="870">
                  <c:v>1544</c:v>
                </c:pt>
                <c:pt idx="871">
                  <c:v>1532</c:v>
                </c:pt>
                <c:pt idx="872">
                  <c:v>1536</c:v>
                </c:pt>
                <c:pt idx="873">
                  <c:v>1550</c:v>
                </c:pt>
                <c:pt idx="874">
                  <c:v>1535</c:v>
                </c:pt>
                <c:pt idx="875">
                  <c:v>1549</c:v>
                </c:pt>
                <c:pt idx="876">
                  <c:v>1540</c:v>
                </c:pt>
                <c:pt idx="877">
                  <c:v>1539</c:v>
                </c:pt>
                <c:pt idx="878">
                  <c:v>1551</c:v>
                </c:pt>
                <c:pt idx="879">
                  <c:v>1529</c:v>
                </c:pt>
                <c:pt idx="880">
                  <c:v>1552</c:v>
                </c:pt>
                <c:pt idx="881">
                  <c:v>1540</c:v>
                </c:pt>
                <c:pt idx="882">
                  <c:v>1533</c:v>
                </c:pt>
                <c:pt idx="883">
                  <c:v>1516</c:v>
                </c:pt>
                <c:pt idx="884">
                  <c:v>1556</c:v>
                </c:pt>
                <c:pt idx="885">
                  <c:v>1540</c:v>
                </c:pt>
                <c:pt idx="886">
                  <c:v>1561</c:v>
                </c:pt>
                <c:pt idx="887">
                  <c:v>1551</c:v>
                </c:pt>
                <c:pt idx="888">
                  <c:v>1545</c:v>
                </c:pt>
                <c:pt idx="889">
                  <c:v>1551</c:v>
                </c:pt>
                <c:pt idx="890">
                  <c:v>1541</c:v>
                </c:pt>
                <c:pt idx="891">
                  <c:v>1542</c:v>
                </c:pt>
                <c:pt idx="892">
                  <c:v>1545</c:v>
                </c:pt>
                <c:pt idx="893">
                  <c:v>1541</c:v>
                </c:pt>
                <c:pt idx="894">
                  <c:v>1533</c:v>
                </c:pt>
                <c:pt idx="895">
                  <c:v>1564</c:v>
                </c:pt>
                <c:pt idx="896">
                  <c:v>1538</c:v>
                </c:pt>
                <c:pt idx="897">
                  <c:v>1517</c:v>
                </c:pt>
                <c:pt idx="898">
                  <c:v>1501</c:v>
                </c:pt>
                <c:pt idx="899">
                  <c:v>1501</c:v>
                </c:pt>
                <c:pt idx="900">
                  <c:v>1554</c:v>
                </c:pt>
                <c:pt idx="901">
                  <c:v>1544</c:v>
                </c:pt>
                <c:pt idx="902">
                  <c:v>1556</c:v>
                </c:pt>
                <c:pt idx="903">
                  <c:v>1546</c:v>
                </c:pt>
                <c:pt idx="904">
                  <c:v>1567</c:v>
                </c:pt>
                <c:pt idx="905">
                  <c:v>1558</c:v>
                </c:pt>
                <c:pt idx="906">
                  <c:v>1535</c:v>
                </c:pt>
                <c:pt idx="907">
                  <c:v>1523</c:v>
                </c:pt>
                <c:pt idx="908">
                  <c:v>1553</c:v>
                </c:pt>
                <c:pt idx="909">
                  <c:v>1545</c:v>
                </c:pt>
                <c:pt idx="910">
                  <c:v>1534</c:v>
                </c:pt>
                <c:pt idx="911">
                  <c:v>1577</c:v>
                </c:pt>
                <c:pt idx="912">
                  <c:v>1560</c:v>
                </c:pt>
                <c:pt idx="913">
                  <c:v>1545</c:v>
                </c:pt>
                <c:pt idx="914">
                  <c:v>1543</c:v>
                </c:pt>
                <c:pt idx="915">
                  <c:v>1546</c:v>
                </c:pt>
                <c:pt idx="916">
                  <c:v>1535</c:v>
                </c:pt>
                <c:pt idx="917">
                  <c:v>1547</c:v>
                </c:pt>
                <c:pt idx="918">
                  <c:v>1565</c:v>
                </c:pt>
                <c:pt idx="919">
                  <c:v>1531</c:v>
                </c:pt>
                <c:pt idx="920">
                  <c:v>1559</c:v>
                </c:pt>
                <c:pt idx="921">
                  <c:v>1540</c:v>
                </c:pt>
                <c:pt idx="922">
                  <c:v>1535</c:v>
                </c:pt>
                <c:pt idx="923">
                  <c:v>1556</c:v>
                </c:pt>
                <c:pt idx="924">
                  <c:v>1534</c:v>
                </c:pt>
                <c:pt idx="925">
                  <c:v>1549</c:v>
                </c:pt>
                <c:pt idx="926">
                  <c:v>1559</c:v>
                </c:pt>
                <c:pt idx="927">
                  <c:v>1547</c:v>
                </c:pt>
                <c:pt idx="928">
                  <c:v>1533</c:v>
                </c:pt>
                <c:pt idx="929">
                  <c:v>1514</c:v>
                </c:pt>
                <c:pt idx="930">
                  <c:v>1550</c:v>
                </c:pt>
                <c:pt idx="931">
                  <c:v>1547</c:v>
                </c:pt>
                <c:pt idx="932">
                  <c:v>1521</c:v>
                </c:pt>
                <c:pt idx="933">
                  <c:v>1532</c:v>
                </c:pt>
                <c:pt idx="934">
                  <c:v>1536</c:v>
                </c:pt>
                <c:pt idx="935">
                  <c:v>1543</c:v>
                </c:pt>
                <c:pt idx="936">
                  <c:v>1536</c:v>
                </c:pt>
                <c:pt idx="937">
                  <c:v>1548</c:v>
                </c:pt>
                <c:pt idx="938">
                  <c:v>1537</c:v>
                </c:pt>
                <c:pt idx="939">
                  <c:v>1558</c:v>
                </c:pt>
                <c:pt idx="940">
                  <c:v>1541</c:v>
                </c:pt>
                <c:pt idx="941">
                  <c:v>1531</c:v>
                </c:pt>
                <c:pt idx="942">
                  <c:v>1544</c:v>
                </c:pt>
                <c:pt idx="943">
                  <c:v>1578</c:v>
                </c:pt>
                <c:pt idx="944">
                  <c:v>1537</c:v>
                </c:pt>
                <c:pt idx="945">
                  <c:v>1561</c:v>
                </c:pt>
                <c:pt idx="946">
                  <c:v>1562</c:v>
                </c:pt>
                <c:pt idx="947">
                  <c:v>1535</c:v>
                </c:pt>
                <c:pt idx="948">
                  <c:v>1557</c:v>
                </c:pt>
                <c:pt idx="949">
                  <c:v>1521</c:v>
                </c:pt>
                <c:pt idx="950">
                  <c:v>1550</c:v>
                </c:pt>
                <c:pt idx="951">
                  <c:v>1530</c:v>
                </c:pt>
                <c:pt idx="952">
                  <c:v>1536</c:v>
                </c:pt>
                <c:pt idx="953">
                  <c:v>1544</c:v>
                </c:pt>
                <c:pt idx="954">
                  <c:v>1553</c:v>
                </c:pt>
                <c:pt idx="955">
                  <c:v>1566</c:v>
                </c:pt>
                <c:pt idx="956">
                  <c:v>1546</c:v>
                </c:pt>
                <c:pt idx="957">
                  <c:v>1551</c:v>
                </c:pt>
                <c:pt idx="958">
                  <c:v>1565</c:v>
                </c:pt>
                <c:pt idx="959">
                  <c:v>1560</c:v>
                </c:pt>
                <c:pt idx="960">
                  <c:v>1552</c:v>
                </c:pt>
                <c:pt idx="961">
                  <c:v>1556</c:v>
                </c:pt>
                <c:pt idx="962">
                  <c:v>1567</c:v>
                </c:pt>
                <c:pt idx="963">
                  <c:v>1559</c:v>
                </c:pt>
                <c:pt idx="964">
                  <c:v>1557</c:v>
                </c:pt>
                <c:pt idx="965">
                  <c:v>1567</c:v>
                </c:pt>
                <c:pt idx="966">
                  <c:v>1562</c:v>
                </c:pt>
                <c:pt idx="967">
                  <c:v>1579</c:v>
                </c:pt>
                <c:pt idx="968">
                  <c:v>1569</c:v>
                </c:pt>
                <c:pt idx="969">
                  <c:v>1553</c:v>
                </c:pt>
                <c:pt idx="970">
                  <c:v>1552</c:v>
                </c:pt>
                <c:pt idx="971">
                  <c:v>1572</c:v>
                </c:pt>
                <c:pt idx="972">
                  <c:v>1580</c:v>
                </c:pt>
                <c:pt idx="973">
                  <c:v>1549</c:v>
                </c:pt>
                <c:pt idx="974">
                  <c:v>1556</c:v>
                </c:pt>
                <c:pt idx="975">
                  <c:v>1555</c:v>
                </c:pt>
                <c:pt idx="976">
                  <c:v>1546</c:v>
                </c:pt>
                <c:pt idx="977">
                  <c:v>1548</c:v>
                </c:pt>
                <c:pt idx="978">
                  <c:v>1551</c:v>
                </c:pt>
                <c:pt idx="979">
                  <c:v>1562</c:v>
                </c:pt>
                <c:pt idx="980">
                  <c:v>1559</c:v>
                </c:pt>
                <c:pt idx="981">
                  <c:v>1566</c:v>
                </c:pt>
                <c:pt idx="982">
                  <c:v>1547</c:v>
                </c:pt>
                <c:pt idx="983">
                  <c:v>1561</c:v>
                </c:pt>
                <c:pt idx="984">
                  <c:v>1566</c:v>
                </c:pt>
                <c:pt idx="985">
                  <c:v>1571</c:v>
                </c:pt>
                <c:pt idx="986">
                  <c:v>1553</c:v>
                </c:pt>
                <c:pt idx="987">
                  <c:v>1553</c:v>
                </c:pt>
                <c:pt idx="988">
                  <c:v>1556</c:v>
                </c:pt>
                <c:pt idx="989">
                  <c:v>1543</c:v>
                </c:pt>
                <c:pt idx="990">
                  <c:v>1543</c:v>
                </c:pt>
                <c:pt idx="991">
                  <c:v>1546</c:v>
                </c:pt>
                <c:pt idx="992">
                  <c:v>1542</c:v>
                </c:pt>
                <c:pt idx="993">
                  <c:v>1571</c:v>
                </c:pt>
                <c:pt idx="994">
                  <c:v>1552</c:v>
                </c:pt>
                <c:pt idx="995">
                  <c:v>1557</c:v>
                </c:pt>
                <c:pt idx="996">
                  <c:v>1562</c:v>
                </c:pt>
                <c:pt idx="997">
                  <c:v>1553</c:v>
                </c:pt>
                <c:pt idx="998">
                  <c:v>1563</c:v>
                </c:pt>
                <c:pt idx="999">
                  <c:v>1558</c:v>
                </c:pt>
                <c:pt idx="1000">
                  <c:v>1551</c:v>
                </c:pt>
                <c:pt idx="1001">
                  <c:v>1557</c:v>
                </c:pt>
                <c:pt idx="1002">
                  <c:v>1554</c:v>
                </c:pt>
                <c:pt idx="1003">
                  <c:v>1552</c:v>
                </c:pt>
                <c:pt idx="1004">
                  <c:v>1560</c:v>
                </c:pt>
                <c:pt idx="1005">
                  <c:v>1556</c:v>
                </c:pt>
                <c:pt idx="1006">
                  <c:v>1547</c:v>
                </c:pt>
                <c:pt idx="1007">
                  <c:v>1569</c:v>
                </c:pt>
                <c:pt idx="1008">
                  <c:v>1562</c:v>
                </c:pt>
                <c:pt idx="1009">
                  <c:v>1565</c:v>
                </c:pt>
                <c:pt idx="1010">
                  <c:v>1550</c:v>
                </c:pt>
                <c:pt idx="1011">
                  <c:v>1559</c:v>
                </c:pt>
                <c:pt idx="1012">
                  <c:v>1562</c:v>
                </c:pt>
                <c:pt idx="1013">
                  <c:v>1549</c:v>
                </c:pt>
                <c:pt idx="1014">
                  <c:v>1553</c:v>
                </c:pt>
                <c:pt idx="1015">
                  <c:v>1556</c:v>
                </c:pt>
                <c:pt idx="1016">
                  <c:v>1557</c:v>
                </c:pt>
                <c:pt idx="1017">
                  <c:v>1565</c:v>
                </c:pt>
                <c:pt idx="1018">
                  <c:v>1563</c:v>
                </c:pt>
                <c:pt idx="1019">
                  <c:v>1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1B-4D57-96E8-50875E9AE96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259168640"/>
        <c:axId val="1110479008"/>
      </c:lineChart>
      <c:dateAx>
        <c:axId val="12591686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110479008"/>
        <c:crosses val="autoZero"/>
        <c:auto val="0"/>
        <c:lblOffset val="100"/>
        <c:baseTimeUnit val="days"/>
        <c:majorUnit val="1"/>
        <c:majorTimeUnit val="years"/>
        <c:minorUnit val="1"/>
        <c:minorTimeUnit val="years"/>
      </c:dateAx>
      <c:valAx>
        <c:axId val="1110479008"/>
        <c:scaling>
          <c:orientation val="minMax"/>
          <c:min val="700"/>
        </c:scaling>
        <c:delete val="1"/>
        <c:axPos val="l"/>
        <c:numFmt formatCode="General" sourceLinked="1"/>
        <c:majorTickMark val="out"/>
        <c:minorTickMark val="none"/>
        <c:tickLblPos val="nextTo"/>
        <c:crossAx val="1259168640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07-40A0-9F3D-4BCC95250FC7}"/>
              </c:ext>
            </c:extLst>
          </c:dPt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9000000</c:v>
                </c:pt>
                <c:pt idx="1">
                  <c:v>49000000</c:v>
                </c:pt>
                <c:pt idx="2">
                  <c:v>59000000</c:v>
                </c:pt>
                <c:pt idx="3">
                  <c:v>311000000</c:v>
                </c:pt>
                <c:pt idx="4">
                  <c:v>173000000</c:v>
                </c:pt>
                <c:pt idx="5">
                  <c:v>582000000</c:v>
                </c:pt>
                <c:pt idx="6">
                  <c:v>1314000000</c:v>
                </c:pt>
                <c:pt idx="7">
                  <c:v>11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07-40A0-9F3D-4BCC95250F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26A6BD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3-4107-40A0-9F3D-4BCC95250F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030763172888476E-2"/>
          <c:y val="5.09442230955836E-2"/>
          <c:w val="0.93089696256176158"/>
          <c:h val="0.83074483863818471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rgbClr val="4BB5C8"/>
              </a:solidFill>
              <a:round/>
            </a:ln>
            <a:effectLst/>
          </c:spPr>
          <c:marker>
            <c:symbol val="none"/>
          </c:marker>
          <c:cat>
            <c:numRef>
              <c:f>Sheet1!$F$17:$BHR$17</c:f>
              <c:numCache>
                <c:formatCode>m/d/yy;@</c:formatCode>
                <c:ptCount val="1573"/>
                <c:pt idx="0">
                  <c:v>43418</c:v>
                </c:pt>
                <c:pt idx="1">
                  <c:v>43419</c:v>
                </c:pt>
                <c:pt idx="2">
                  <c:v>43420</c:v>
                </c:pt>
                <c:pt idx="3">
                  <c:v>43423</c:v>
                </c:pt>
                <c:pt idx="4">
                  <c:v>43424</c:v>
                </c:pt>
                <c:pt idx="5">
                  <c:v>43425</c:v>
                </c:pt>
                <c:pt idx="6">
                  <c:v>43426</c:v>
                </c:pt>
                <c:pt idx="7">
                  <c:v>43427</c:v>
                </c:pt>
                <c:pt idx="8">
                  <c:v>43430</c:v>
                </c:pt>
                <c:pt idx="9">
                  <c:v>43431</c:v>
                </c:pt>
                <c:pt idx="10">
                  <c:v>43432</c:v>
                </c:pt>
                <c:pt idx="11">
                  <c:v>43433</c:v>
                </c:pt>
                <c:pt idx="12">
                  <c:v>43434</c:v>
                </c:pt>
                <c:pt idx="13">
                  <c:v>43438</c:v>
                </c:pt>
                <c:pt idx="14">
                  <c:v>43439</c:v>
                </c:pt>
                <c:pt idx="15">
                  <c:v>43440</c:v>
                </c:pt>
                <c:pt idx="16">
                  <c:v>43441</c:v>
                </c:pt>
                <c:pt idx="17">
                  <c:v>43444</c:v>
                </c:pt>
                <c:pt idx="18">
                  <c:v>43445</c:v>
                </c:pt>
                <c:pt idx="19">
                  <c:v>43446</c:v>
                </c:pt>
                <c:pt idx="20">
                  <c:v>43447</c:v>
                </c:pt>
                <c:pt idx="21">
                  <c:v>43448</c:v>
                </c:pt>
                <c:pt idx="22">
                  <c:v>43453</c:v>
                </c:pt>
                <c:pt idx="23">
                  <c:v>43454</c:v>
                </c:pt>
                <c:pt idx="24">
                  <c:v>43455</c:v>
                </c:pt>
                <c:pt idx="25">
                  <c:v>43458</c:v>
                </c:pt>
                <c:pt idx="26">
                  <c:v>43459</c:v>
                </c:pt>
                <c:pt idx="27">
                  <c:v>43460</c:v>
                </c:pt>
                <c:pt idx="28">
                  <c:v>43461</c:v>
                </c:pt>
                <c:pt idx="29">
                  <c:v>43462</c:v>
                </c:pt>
                <c:pt idx="30">
                  <c:v>43468</c:v>
                </c:pt>
                <c:pt idx="31">
                  <c:v>43469</c:v>
                </c:pt>
                <c:pt idx="32">
                  <c:v>43473</c:v>
                </c:pt>
                <c:pt idx="33">
                  <c:v>43474</c:v>
                </c:pt>
                <c:pt idx="34">
                  <c:v>43475</c:v>
                </c:pt>
                <c:pt idx="35">
                  <c:v>43476</c:v>
                </c:pt>
                <c:pt idx="36">
                  <c:v>43479</c:v>
                </c:pt>
                <c:pt idx="37">
                  <c:v>43480</c:v>
                </c:pt>
                <c:pt idx="38">
                  <c:v>43481</c:v>
                </c:pt>
                <c:pt idx="39">
                  <c:v>43482</c:v>
                </c:pt>
                <c:pt idx="40">
                  <c:v>43483</c:v>
                </c:pt>
                <c:pt idx="41">
                  <c:v>43486</c:v>
                </c:pt>
                <c:pt idx="42">
                  <c:v>43487</c:v>
                </c:pt>
                <c:pt idx="43">
                  <c:v>43488</c:v>
                </c:pt>
                <c:pt idx="44">
                  <c:v>43489</c:v>
                </c:pt>
                <c:pt idx="45">
                  <c:v>43490</c:v>
                </c:pt>
                <c:pt idx="46">
                  <c:v>43493</c:v>
                </c:pt>
                <c:pt idx="47">
                  <c:v>43494</c:v>
                </c:pt>
                <c:pt idx="48">
                  <c:v>43495</c:v>
                </c:pt>
                <c:pt idx="49">
                  <c:v>43497</c:v>
                </c:pt>
                <c:pt idx="50">
                  <c:v>43500</c:v>
                </c:pt>
                <c:pt idx="51">
                  <c:v>43501</c:v>
                </c:pt>
                <c:pt idx="52">
                  <c:v>43502</c:v>
                </c:pt>
                <c:pt idx="53">
                  <c:v>43503</c:v>
                </c:pt>
                <c:pt idx="54">
                  <c:v>43504</c:v>
                </c:pt>
                <c:pt idx="55">
                  <c:v>43507</c:v>
                </c:pt>
                <c:pt idx="56">
                  <c:v>43508</c:v>
                </c:pt>
                <c:pt idx="57">
                  <c:v>43509</c:v>
                </c:pt>
                <c:pt idx="58">
                  <c:v>43510</c:v>
                </c:pt>
                <c:pt idx="59">
                  <c:v>43511</c:v>
                </c:pt>
                <c:pt idx="60">
                  <c:v>43514</c:v>
                </c:pt>
                <c:pt idx="61">
                  <c:v>43515</c:v>
                </c:pt>
                <c:pt idx="62">
                  <c:v>43516</c:v>
                </c:pt>
                <c:pt idx="63">
                  <c:v>43517</c:v>
                </c:pt>
                <c:pt idx="64">
                  <c:v>43518</c:v>
                </c:pt>
                <c:pt idx="65">
                  <c:v>43521</c:v>
                </c:pt>
                <c:pt idx="66">
                  <c:v>43522</c:v>
                </c:pt>
                <c:pt idx="67">
                  <c:v>43523</c:v>
                </c:pt>
                <c:pt idx="68">
                  <c:v>43524</c:v>
                </c:pt>
                <c:pt idx="69">
                  <c:v>43525</c:v>
                </c:pt>
                <c:pt idx="70">
                  <c:v>43527</c:v>
                </c:pt>
                <c:pt idx="71">
                  <c:v>43528</c:v>
                </c:pt>
                <c:pt idx="72">
                  <c:v>43529</c:v>
                </c:pt>
                <c:pt idx="73">
                  <c:v>43530</c:v>
                </c:pt>
                <c:pt idx="74">
                  <c:v>43531</c:v>
                </c:pt>
                <c:pt idx="75">
                  <c:v>43535</c:v>
                </c:pt>
                <c:pt idx="76">
                  <c:v>43536</c:v>
                </c:pt>
                <c:pt idx="77">
                  <c:v>43537</c:v>
                </c:pt>
                <c:pt idx="78">
                  <c:v>43538</c:v>
                </c:pt>
                <c:pt idx="79">
                  <c:v>43539</c:v>
                </c:pt>
                <c:pt idx="80">
                  <c:v>43542</c:v>
                </c:pt>
                <c:pt idx="81">
                  <c:v>43543</c:v>
                </c:pt>
                <c:pt idx="82">
                  <c:v>43544</c:v>
                </c:pt>
                <c:pt idx="83">
                  <c:v>43550</c:v>
                </c:pt>
                <c:pt idx="84">
                  <c:v>43551</c:v>
                </c:pt>
                <c:pt idx="85">
                  <c:v>43552</c:v>
                </c:pt>
                <c:pt idx="86">
                  <c:v>43553</c:v>
                </c:pt>
                <c:pt idx="87">
                  <c:v>43556</c:v>
                </c:pt>
                <c:pt idx="88">
                  <c:v>43557</c:v>
                </c:pt>
                <c:pt idx="89">
                  <c:v>43558</c:v>
                </c:pt>
                <c:pt idx="90">
                  <c:v>43559</c:v>
                </c:pt>
                <c:pt idx="91">
                  <c:v>43560</c:v>
                </c:pt>
                <c:pt idx="92">
                  <c:v>43563</c:v>
                </c:pt>
                <c:pt idx="93">
                  <c:v>43564</c:v>
                </c:pt>
                <c:pt idx="94">
                  <c:v>43565</c:v>
                </c:pt>
                <c:pt idx="95">
                  <c:v>43566</c:v>
                </c:pt>
                <c:pt idx="96">
                  <c:v>43567</c:v>
                </c:pt>
                <c:pt idx="97">
                  <c:v>43570</c:v>
                </c:pt>
                <c:pt idx="98">
                  <c:v>43571</c:v>
                </c:pt>
                <c:pt idx="99">
                  <c:v>43572</c:v>
                </c:pt>
                <c:pt idx="100">
                  <c:v>43573</c:v>
                </c:pt>
                <c:pt idx="101">
                  <c:v>43574</c:v>
                </c:pt>
                <c:pt idx="102">
                  <c:v>43577</c:v>
                </c:pt>
                <c:pt idx="103">
                  <c:v>43578</c:v>
                </c:pt>
                <c:pt idx="104">
                  <c:v>43579</c:v>
                </c:pt>
                <c:pt idx="105">
                  <c:v>43580</c:v>
                </c:pt>
                <c:pt idx="106">
                  <c:v>43581</c:v>
                </c:pt>
                <c:pt idx="107">
                  <c:v>43584</c:v>
                </c:pt>
                <c:pt idx="108">
                  <c:v>43585</c:v>
                </c:pt>
                <c:pt idx="109">
                  <c:v>43591</c:v>
                </c:pt>
                <c:pt idx="110">
                  <c:v>43593</c:v>
                </c:pt>
                <c:pt idx="111">
                  <c:v>43598</c:v>
                </c:pt>
                <c:pt idx="112">
                  <c:v>43599</c:v>
                </c:pt>
                <c:pt idx="113">
                  <c:v>43600</c:v>
                </c:pt>
                <c:pt idx="114">
                  <c:v>43601</c:v>
                </c:pt>
                <c:pt idx="115">
                  <c:v>43602</c:v>
                </c:pt>
                <c:pt idx="116">
                  <c:v>43605</c:v>
                </c:pt>
                <c:pt idx="117">
                  <c:v>43606</c:v>
                </c:pt>
                <c:pt idx="118">
                  <c:v>43607</c:v>
                </c:pt>
                <c:pt idx="119">
                  <c:v>43609</c:v>
                </c:pt>
                <c:pt idx="120">
                  <c:v>43612</c:v>
                </c:pt>
                <c:pt idx="121">
                  <c:v>43613</c:v>
                </c:pt>
                <c:pt idx="122">
                  <c:v>43614</c:v>
                </c:pt>
                <c:pt idx="123">
                  <c:v>43615</c:v>
                </c:pt>
                <c:pt idx="124">
                  <c:v>43616</c:v>
                </c:pt>
                <c:pt idx="125">
                  <c:v>43619</c:v>
                </c:pt>
                <c:pt idx="126">
                  <c:v>43620</c:v>
                </c:pt>
                <c:pt idx="127">
                  <c:v>43621</c:v>
                </c:pt>
                <c:pt idx="128">
                  <c:v>43622</c:v>
                </c:pt>
                <c:pt idx="129">
                  <c:v>43623</c:v>
                </c:pt>
                <c:pt idx="130">
                  <c:v>43626</c:v>
                </c:pt>
                <c:pt idx="131">
                  <c:v>43627</c:v>
                </c:pt>
                <c:pt idx="132">
                  <c:v>43628</c:v>
                </c:pt>
                <c:pt idx="133">
                  <c:v>43629</c:v>
                </c:pt>
                <c:pt idx="134">
                  <c:v>43630</c:v>
                </c:pt>
                <c:pt idx="135">
                  <c:v>43633</c:v>
                </c:pt>
                <c:pt idx="136">
                  <c:v>43634</c:v>
                </c:pt>
                <c:pt idx="137">
                  <c:v>43635</c:v>
                </c:pt>
                <c:pt idx="138">
                  <c:v>43636</c:v>
                </c:pt>
                <c:pt idx="139">
                  <c:v>43640</c:v>
                </c:pt>
                <c:pt idx="140">
                  <c:v>43641</c:v>
                </c:pt>
                <c:pt idx="141">
                  <c:v>43642</c:v>
                </c:pt>
                <c:pt idx="142">
                  <c:v>43643</c:v>
                </c:pt>
                <c:pt idx="143">
                  <c:v>43644</c:v>
                </c:pt>
                <c:pt idx="144">
                  <c:v>43647</c:v>
                </c:pt>
                <c:pt idx="145">
                  <c:v>43648</c:v>
                </c:pt>
                <c:pt idx="146">
                  <c:v>43649</c:v>
                </c:pt>
                <c:pt idx="147">
                  <c:v>43650</c:v>
                </c:pt>
                <c:pt idx="148">
                  <c:v>43651</c:v>
                </c:pt>
                <c:pt idx="149">
                  <c:v>43655</c:v>
                </c:pt>
                <c:pt idx="150">
                  <c:v>43656</c:v>
                </c:pt>
                <c:pt idx="151">
                  <c:v>43657</c:v>
                </c:pt>
                <c:pt idx="152">
                  <c:v>43658</c:v>
                </c:pt>
                <c:pt idx="153">
                  <c:v>43661</c:v>
                </c:pt>
                <c:pt idx="154">
                  <c:v>43662</c:v>
                </c:pt>
                <c:pt idx="155">
                  <c:v>43663</c:v>
                </c:pt>
                <c:pt idx="156">
                  <c:v>43664</c:v>
                </c:pt>
                <c:pt idx="157">
                  <c:v>43665</c:v>
                </c:pt>
                <c:pt idx="158">
                  <c:v>43668</c:v>
                </c:pt>
                <c:pt idx="159">
                  <c:v>43669</c:v>
                </c:pt>
                <c:pt idx="160">
                  <c:v>43670</c:v>
                </c:pt>
                <c:pt idx="161">
                  <c:v>43671</c:v>
                </c:pt>
                <c:pt idx="162">
                  <c:v>43672</c:v>
                </c:pt>
                <c:pt idx="163">
                  <c:v>43675</c:v>
                </c:pt>
                <c:pt idx="164">
                  <c:v>43676</c:v>
                </c:pt>
                <c:pt idx="165">
                  <c:v>43677</c:v>
                </c:pt>
                <c:pt idx="166">
                  <c:v>43678</c:v>
                </c:pt>
                <c:pt idx="167">
                  <c:v>43679</c:v>
                </c:pt>
                <c:pt idx="168">
                  <c:v>43682</c:v>
                </c:pt>
                <c:pt idx="169">
                  <c:v>43683</c:v>
                </c:pt>
                <c:pt idx="170">
                  <c:v>43684</c:v>
                </c:pt>
                <c:pt idx="171">
                  <c:v>43685</c:v>
                </c:pt>
                <c:pt idx="172">
                  <c:v>43686</c:v>
                </c:pt>
                <c:pt idx="173">
                  <c:v>43689</c:v>
                </c:pt>
                <c:pt idx="174">
                  <c:v>43690</c:v>
                </c:pt>
                <c:pt idx="175">
                  <c:v>43691</c:v>
                </c:pt>
                <c:pt idx="176">
                  <c:v>43692</c:v>
                </c:pt>
                <c:pt idx="177">
                  <c:v>43693</c:v>
                </c:pt>
                <c:pt idx="178">
                  <c:v>43696</c:v>
                </c:pt>
                <c:pt idx="179">
                  <c:v>43697</c:v>
                </c:pt>
                <c:pt idx="180">
                  <c:v>43698</c:v>
                </c:pt>
                <c:pt idx="181">
                  <c:v>43699</c:v>
                </c:pt>
                <c:pt idx="182">
                  <c:v>43700</c:v>
                </c:pt>
                <c:pt idx="183">
                  <c:v>43703</c:v>
                </c:pt>
                <c:pt idx="184">
                  <c:v>43706</c:v>
                </c:pt>
                <c:pt idx="185">
                  <c:v>43710</c:v>
                </c:pt>
                <c:pt idx="186">
                  <c:v>43711</c:v>
                </c:pt>
                <c:pt idx="187">
                  <c:v>43712</c:v>
                </c:pt>
                <c:pt idx="188">
                  <c:v>43713</c:v>
                </c:pt>
                <c:pt idx="189">
                  <c:v>43714</c:v>
                </c:pt>
                <c:pt idx="190">
                  <c:v>43717</c:v>
                </c:pt>
                <c:pt idx="191">
                  <c:v>43718</c:v>
                </c:pt>
                <c:pt idx="192">
                  <c:v>43719</c:v>
                </c:pt>
                <c:pt idx="193">
                  <c:v>43720</c:v>
                </c:pt>
                <c:pt idx="194">
                  <c:v>43721</c:v>
                </c:pt>
                <c:pt idx="195">
                  <c:v>43724</c:v>
                </c:pt>
                <c:pt idx="196">
                  <c:v>43725</c:v>
                </c:pt>
                <c:pt idx="197">
                  <c:v>43726</c:v>
                </c:pt>
                <c:pt idx="198">
                  <c:v>43727</c:v>
                </c:pt>
                <c:pt idx="199">
                  <c:v>43728</c:v>
                </c:pt>
                <c:pt idx="200">
                  <c:v>43731</c:v>
                </c:pt>
                <c:pt idx="201">
                  <c:v>43732</c:v>
                </c:pt>
                <c:pt idx="202">
                  <c:v>43733</c:v>
                </c:pt>
                <c:pt idx="203">
                  <c:v>43735</c:v>
                </c:pt>
                <c:pt idx="204">
                  <c:v>43738</c:v>
                </c:pt>
                <c:pt idx="205">
                  <c:v>43739</c:v>
                </c:pt>
                <c:pt idx="206">
                  <c:v>43740</c:v>
                </c:pt>
                <c:pt idx="207">
                  <c:v>43741</c:v>
                </c:pt>
                <c:pt idx="208">
                  <c:v>43742</c:v>
                </c:pt>
                <c:pt idx="209">
                  <c:v>43745</c:v>
                </c:pt>
                <c:pt idx="210">
                  <c:v>43746</c:v>
                </c:pt>
                <c:pt idx="211">
                  <c:v>43747</c:v>
                </c:pt>
                <c:pt idx="212">
                  <c:v>43748</c:v>
                </c:pt>
                <c:pt idx="213">
                  <c:v>43749</c:v>
                </c:pt>
                <c:pt idx="214">
                  <c:v>43752</c:v>
                </c:pt>
                <c:pt idx="215">
                  <c:v>43753</c:v>
                </c:pt>
                <c:pt idx="216">
                  <c:v>43754</c:v>
                </c:pt>
                <c:pt idx="217">
                  <c:v>43755</c:v>
                </c:pt>
                <c:pt idx="218">
                  <c:v>43756</c:v>
                </c:pt>
                <c:pt idx="219">
                  <c:v>43759</c:v>
                </c:pt>
                <c:pt idx="220">
                  <c:v>43760</c:v>
                </c:pt>
                <c:pt idx="221">
                  <c:v>43761</c:v>
                </c:pt>
                <c:pt idx="222">
                  <c:v>43762</c:v>
                </c:pt>
                <c:pt idx="223">
                  <c:v>43763</c:v>
                </c:pt>
                <c:pt idx="224">
                  <c:v>43767</c:v>
                </c:pt>
                <c:pt idx="225">
                  <c:v>43768</c:v>
                </c:pt>
                <c:pt idx="226">
                  <c:v>43769</c:v>
                </c:pt>
                <c:pt idx="227">
                  <c:v>43775</c:v>
                </c:pt>
                <c:pt idx="228">
                  <c:v>43776</c:v>
                </c:pt>
                <c:pt idx="229">
                  <c:v>43777</c:v>
                </c:pt>
                <c:pt idx="230">
                  <c:v>43780</c:v>
                </c:pt>
                <c:pt idx="231">
                  <c:v>43781</c:v>
                </c:pt>
                <c:pt idx="232">
                  <c:v>43782</c:v>
                </c:pt>
                <c:pt idx="233">
                  <c:v>43783</c:v>
                </c:pt>
                <c:pt idx="234">
                  <c:v>43787</c:v>
                </c:pt>
                <c:pt idx="235">
                  <c:v>43788</c:v>
                </c:pt>
                <c:pt idx="236">
                  <c:v>43789</c:v>
                </c:pt>
                <c:pt idx="237">
                  <c:v>43790</c:v>
                </c:pt>
                <c:pt idx="238">
                  <c:v>43791</c:v>
                </c:pt>
                <c:pt idx="239">
                  <c:v>43794</c:v>
                </c:pt>
                <c:pt idx="240">
                  <c:v>43795</c:v>
                </c:pt>
                <c:pt idx="241">
                  <c:v>43796</c:v>
                </c:pt>
                <c:pt idx="242">
                  <c:v>43797</c:v>
                </c:pt>
                <c:pt idx="243">
                  <c:v>43798</c:v>
                </c:pt>
                <c:pt idx="244">
                  <c:v>43802</c:v>
                </c:pt>
                <c:pt idx="245">
                  <c:v>43803</c:v>
                </c:pt>
                <c:pt idx="246">
                  <c:v>43804</c:v>
                </c:pt>
                <c:pt idx="247">
                  <c:v>43805</c:v>
                </c:pt>
                <c:pt idx="248">
                  <c:v>43808</c:v>
                </c:pt>
                <c:pt idx="249">
                  <c:v>43809</c:v>
                </c:pt>
                <c:pt idx="250">
                  <c:v>43810</c:v>
                </c:pt>
                <c:pt idx="251">
                  <c:v>43811</c:v>
                </c:pt>
                <c:pt idx="252">
                  <c:v>43812</c:v>
                </c:pt>
                <c:pt idx="253">
                  <c:v>43817</c:v>
                </c:pt>
                <c:pt idx="254">
                  <c:v>43818</c:v>
                </c:pt>
                <c:pt idx="255">
                  <c:v>43819</c:v>
                </c:pt>
                <c:pt idx="256">
                  <c:v>43822</c:v>
                </c:pt>
                <c:pt idx="257">
                  <c:v>43823</c:v>
                </c:pt>
                <c:pt idx="258">
                  <c:v>43824</c:v>
                </c:pt>
                <c:pt idx="259">
                  <c:v>43825</c:v>
                </c:pt>
                <c:pt idx="260">
                  <c:v>43826</c:v>
                </c:pt>
                <c:pt idx="261">
                  <c:v>43829</c:v>
                </c:pt>
                <c:pt idx="262">
                  <c:v>43830</c:v>
                </c:pt>
                <c:pt idx="263">
                  <c:v>43836</c:v>
                </c:pt>
                <c:pt idx="264">
                  <c:v>43838</c:v>
                </c:pt>
                <c:pt idx="265">
                  <c:v>43839</c:v>
                </c:pt>
                <c:pt idx="266">
                  <c:v>43840</c:v>
                </c:pt>
                <c:pt idx="267">
                  <c:v>43843</c:v>
                </c:pt>
                <c:pt idx="268">
                  <c:v>43845</c:v>
                </c:pt>
                <c:pt idx="269">
                  <c:v>43846</c:v>
                </c:pt>
                <c:pt idx="270">
                  <c:v>43847</c:v>
                </c:pt>
                <c:pt idx="271">
                  <c:v>43850</c:v>
                </c:pt>
                <c:pt idx="272">
                  <c:v>43851</c:v>
                </c:pt>
                <c:pt idx="273">
                  <c:v>43852</c:v>
                </c:pt>
                <c:pt idx="274">
                  <c:v>43853</c:v>
                </c:pt>
                <c:pt idx="275">
                  <c:v>43854</c:v>
                </c:pt>
                <c:pt idx="276">
                  <c:v>43857</c:v>
                </c:pt>
                <c:pt idx="277">
                  <c:v>43858</c:v>
                </c:pt>
                <c:pt idx="278">
                  <c:v>43859</c:v>
                </c:pt>
                <c:pt idx="279">
                  <c:v>43860</c:v>
                </c:pt>
                <c:pt idx="280">
                  <c:v>43861</c:v>
                </c:pt>
                <c:pt idx="281">
                  <c:v>43864</c:v>
                </c:pt>
                <c:pt idx="282">
                  <c:v>43865</c:v>
                </c:pt>
                <c:pt idx="283">
                  <c:v>43866</c:v>
                </c:pt>
                <c:pt idx="284">
                  <c:v>43867</c:v>
                </c:pt>
                <c:pt idx="285">
                  <c:v>43868</c:v>
                </c:pt>
                <c:pt idx="286">
                  <c:v>43871</c:v>
                </c:pt>
                <c:pt idx="287">
                  <c:v>43872</c:v>
                </c:pt>
                <c:pt idx="288">
                  <c:v>43873</c:v>
                </c:pt>
                <c:pt idx="289">
                  <c:v>43874</c:v>
                </c:pt>
                <c:pt idx="290">
                  <c:v>43875</c:v>
                </c:pt>
                <c:pt idx="291">
                  <c:v>43878</c:v>
                </c:pt>
                <c:pt idx="292">
                  <c:v>43879</c:v>
                </c:pt>
                <c:pt idx="293">
                  <c:v>43880</c:v>
                </c:pt>
                <c:pt idx="294">
                  <c:v>43881</c:v>
                </c:pt>
                <c:pt idx="295">
                  <c:v>43882</c:v>
                </c:pt>
                <c:pt idx="296">
                  <c:v>43885</c:v>
                </c:pt>
                <c:pt idx="297">
                  <c:v>43886</c:v>
                </c:pt>
                <c:pt idx="298">
                  <c:v>43887</c:v>
                </c:pt>
                <c:pt idx="299">
                  <c:v>43888</c:v>
                </c:pt>
                <c:pt idx="300">
                  <c:v>43889</c:v>
                </c:pt>
                <c:pt idx="301">
                  <c:v>43892</c:v>
                </c:pt>
                <c:pt idx="302">
                  <c:v>43893</c:v>
                </c:pt>
                <c:pt idx="303">
                  <c:v>43894</c:v>
                </c:pt>
                <c:pt idx="304">
                  <c:v>43895</c:v>
                </c:pt>
                <c:pt idx="305">
                  <c:v>43896</c:v>
                </c:pt>
                <c:pt idx="306">
                  <c:v>43900</c:v>
                </c:pt>
                <c:pt idx="307">
                  <c:v>43901</c:v>
                </c:pt>
                <c:pt idx="308">
                  <c:v>43902</c:v>
                </c:pt>
                <c:pt idx="309">
                  <c:v>43903</c:v>
                </c:pt>
                <c:pt idx="310">
                  <c:v>43906</c:v>
                </c:pt>
                <c:pt idx="311">
                  <c:v>43907</c:v>
                </c:pt>
                <c:pt idx="312">
                  <c:v>43908</c:v>
                </c:pt>
                <c:pt idx="313">
                  <c:v>43909</c:v>
                </c:pt>
                <c:pt idx="314">
                  <c:v>43910</c:v>
                </c:pt>
                <c:pt idx="315">
                  <c:v>43916</c:v>
                </c:pt>
                <c:pt idx="316">
                  <c:v>43917</c:v>
                </c:pt>
                <c:pt idx="317">
                  <c:v>43920</c:v>
                </c:pt>
                <c:pt idx="318">
                  <c:v>43921</c:v>
                </c:pt>
                <c:pt idx="319">
                  <c:v>43922</c:v>
                </c:pt>
                <c:pt idx="320">
                  <c:v>43923</c:v>
                </c:pt>
                <c:pt idx="321">
                  <c:v>43924</c:v>
                </c:pt>
                <c:pt idx="322">
                  <c:v>43927</c:v>
                </c:pt>
                <c:pt idx="323">
                  <c:v>43928</c:v>
                </c:pt>
                <c:pt idx="324">
                  <c:v>43929</c:v>
                </c:pt>
                <c:pt idx="325">
                  <c:v>43930</c:v>
                </c:pt>
                <c:pt idx="326">
                  <c:v>43931</c:v>
                </c:pt>
                <c:pt idx="327">
                  <c:v>43934</c:v>
                </c:pt>
                <c:pt idx="328">
                  <c:v>43935</c:v>
                </c:pt>
                <c:pt idx="329">
                  <c:v>43936</c:v>
                </c:pt>
                <c:pt idx="330">
                  <c:v>43937</c:v>
                </c:pt>
                <c:pt idx="331">
                  <c:v>43938</c:v>
                </c:pt>
                <c:pt idx="332">
                  <c:v>43941</c:v>
                </c:pt>
                <c:pt idx="333">
                  <c:v>43942</c:v>
                </c:pt>
                <c:pt idx="334">
                  <c:v>43943</c:v>
                </c:pt>
                <c:pt idx="335">
                  <c:v>43944</c:v>
                </c:pt>
                <c:pt idx="336">
                  <c:v>43945</c:v>
                </c:pt>
                <c:pt idx="337">
                  <c:v>43948</c:v>
                </c:pt>
                <c:pt idx="338">
                  <c:v>43949</c:v>
                </c:pt>
                <c:pt idx="339">
                  <c:v>43950</c:v>
                </c:pt>
                <c:pt idx="340">
                  <c:v>43951</c:v>
                </c:pt>
                <c:pt idx="341">
                  <c:v>43955</c:v>
                </c:pt>
                <c:pt idx="342">
                  <c:v>43956</c:v>
                </c:pt>
                <c:pt idx="343">
                  <c:v>43957</c:v>
                </c:pt>
                <c:pt idx="344">
                  <c:v>43962</c:v>
                </c:pt>
                <c:pt idx="345">
                  <c:v>43963</c:v>
                </c:pt>
                <c:pt idx="346">
                  <c:v>43964</c:v>
                </c:pt>
                <c:pt idx="347">
                  <c:v>43965</c:v>
                </c:pt>
                <c:pt idx="348">
                  <c:v>43966</c:v>
                </c:pt>
                <c:pt idx="349">
                  <c:v>43969</c:v>
                </c:pt>
                <c:pt idx="350">
                  <c:v>43970</c:v>
                </c:pt>
                <c:pt idx="351">
                  <c:v>43971</c:v>
                </c:pt>
                <c:pt idx="352">
                  <c:v>43972</c:v>
                </c:pt>
                <c:pt idx="353">
                  <c:v>43973</c:v>
                </c:pt>
                <c:pt idx="354">
                  <c:v>43976</c:v>
                </c:pt>
                <c:pt idx="355">
                  <c:v>43977</c:v>
                </c:pt>
                <c:pt idx="356">
                  <c:v>43978</c:v>
                </c:pt>
                <c:pt idx="357">
                  <c:v>43979</c:v>
                </c:pt>
                <c:pt idx="358">
                  <c:v>43980</c:v>
                </c:pt>
                <c:pt idx="359">
                  <c:v>43983</c:v>
                </c:pt>
                <c:pt idx="360">
                  <c:v>43984</c:v>
                </c:pt>
                <c:pt idx="361">
                  <c:v>43985</c:v>
                </c:pt>
                <c:pt idx="362">
                  <c:v>43986</c:v>
                </c:pt>
                <c:pt idx="363">
                  <c:v>43987</c:v>
                </c:pt>
                <c:pt idx="364">
                  <c:v>43990</c:v>
                </c:pt>
                <c:pt idx="365">
                  <c:v>43991</c:v>
                </c:pt>
                <c:pt idx="366">
                  <c:v>43992</c:v>
                </c:pt>
                <c:pt idx="367">
                  <c:v>43993</c:v>
                </c:pt>
                <c:pt idx="368">
                  <c:v>43994</c:v>
                </c:pt>
                <c:pt idx="369">
                  <c:v>43997</c:v>
                </c:pt>
                <c:pt idx="370">
                  <c:v>43998</c:v>
                </c:pt>
                <c:pt idx="371">
                  <c:v>43999</c:v>
                </c:pt>
                <c:pt idx="372">
                  <c:v>44000</c:v>
                </c:pt>
                <c:pt idx="373">
                  <c:v>44001</c:v>
                </c:pt>
                <c:pt idx="374">
                  <c:v>44004</c:v>
                </c:pt>
                <c:pt idx="375">
                  <c:v>44005</c:v>
                </c:pt>
                <c:pt idx="376">
                  <c:v>44006</c:v>
                </c:pt>
                <c:pt idx="377">
                  <c:v>44007</c:v>
                </c:pt>
                <c:pt idx="378">
                  <c:v>44008</c:v>
                </c:pt>
                <c:pt idx="379">
                  <c:v>44011</c:v>
                </c:pt>
                <c:pt idx="380">
                  <c:v>44012</c:v>
                </c:pt>
                <c:pt idx="381">
                  <c:v>44013</c:v>
                </c:pt>
                <c:pt idx="382">
                  <c:v>44014</c:v>
                </c:pt>
                <c:pt idx="383">
                  <c:v>44015</c:v>
                </c:pt>
                <c:pt idx="384">
                  <c:v>44019</c:v>
                </c:pt>
                <c:pt idx="385">
                  <c:v>44020</c:v>
                </c:pt>
                <c:pt idx="386">
                  <c:v>44021</c:v>
                </c:pt>
                <c:pt idx="387">
                  <c:v>44022</c:v>
                </c:pt>
                <c:pt idx="388">
                  <c:v>44025</c:v>
                </c:pt>
                <c:pt idx="389">
                  <c:v>44026</c:v>
                </c:pt>
                <c:pt idx="390">
                  <c:v>44027</c:v>
                </c:pt>
                <c:pt idx="391">
                  <c:v>44028</c:v>
                </c:pt>
                <c:pt idx="392">
                  <c:v>44029</c:v>
                </c:pt>
                <c:pt idx="393">
                  <c:v>44032</c:v>
                </c:pt>
                <c:pt idx="394">
                  <c:v>44033</c:v>
                </c:pt>
                <c:pt idx="395">
                  <c:v>44034</c:v>
                </c:pt>
                <c:pt idx="396">
                  <c:v>44035</c:v>
                </c:pt>
                <c:pt idx="397">
                  <c:v>44036</c:v>
                </c:pt>
                <c:pt idx="398">
                  <c:v>44039</c:v>
                </c:pt>
                <c:pt idx="399">
                  <c:v>44040</c:v>
                </c:pt>
                <c:pt idx="400">
                  <c:v>44041</c:v>
                </c:pt>
                <c:pt idx="401">
                  <c:v>44042</c:v>
                </c:pt>
                <c:pt idx="402">
                  <c:v>44046</c:v>
                </c:pt>
                <c:pt idx="403">
                  <c:v>44047</c:v>
                </c:pt>
                <c:pt idx="404">
                  <c:v>44048</c:v>
                </c:pt>
                <c:pt idx="405">
                  <c:v>44049</c:v>
                </c:pt>
                <c:pt idx="406">
                  <c:v>44050</c:v>
                </c:pt>
                <c:pt idx="407">
                  <c:v>44053</c:v>
                </c:pt>
                <c:pt idx="408">
                  <c:v>44054</c:v>
                </c:pt>
                <c:pt idx="409">
                  <c:v>44055</c:v>
                </c:pt>
                <c:pt idx="410">
                  <c:v>44056</c:v>
                </c:pt>
                <c:pt idx="411">
                  <c:v>44057</c:v>
                </c:pt>
                <c:pt idx="412">
                  <c:v>44060</c:v>
                </c:pt>
                <c:pt idx="413">
                  <c:v>44061</c:v>
                </c:pt>
                <c:pt idx="414">
                  <c:v>44062</c:v>
                </c:pt>
                <c:pt idx="415">
                  <c:v>44063</c:v>
                </c:pt>
                <c:pt idx="416">
                  <c:v>44064</c:v>
                </c:pt>
                <c:pt idx="417">
                  <c:v>44067</c:v>
                </c:pt>
                <c:pt idx="418">
                  <c:v>44068</c:v>
                </c:pt>
                <c:pt idx="419">
                  <c:v>44069</c:v>
                </c:pt>
                <c:pt idx="420">
                  <c:v>44070</c:v>
                </c:pt>
                <c:pt idx="421">
                  <c:v>44071</c:v>
                </c:pt>
                <c:pt idx="422">
                  <c:v>44075</c:v>
                </c:pt>
                <c:pt idx="423">
                  <c:v>44076</c:v>
                </c:pt>
                <c:pt idx="424">
                  <c:v>44077</c:v>
                </c:pt>
                <c:pt idx="425">
                  <c:v>44078</c:v>
                </c:pt>
                <c:pt idx="426">
                  <c:v>44081</c:v>
                </c:pt>
                <c:pt idx="427">
                  <c:v>44082</c:v>
                </c:pt>
                <c:pt idx="428">
                  <c:v>44083</c:v>
                </c:pt>
                <c:pt idx="429">
                  <c:v>44084</c:v>
                </c:pt>
                <c:pt idx="430">
                  <c:v>44088</c:v>
                </c:pt>
                <c:pt idx="431">
                  <c:v>44089</c:v>
                </c:pt>
                <c:pt idx="432">
                  <c:v>44095</c:v>
                </c:pt>
                <c:pt idx="433">
                  <c:v>44096</c:v>
                </c:pt>
                <c:pt idx="434">
                  <c:v>44097</c:v>
                </c:pt>
                <c:pt idx="435">
                  <c:v>44098</c:v>
                </c:pt>
                <c:pt idx="436">
                  <c:v>44099</c:v>
                </c:pt>
                <c:pt idx="437">
                  <c:v>44102</c:v>
                </c:pt>
                <c:pt idx="438">
                  <c:v>44103</c:v>
                </c:pt>
                <c:pt idx="439">
                  <c:v>44104</c:v>
                </c:pt>
                <c:pt idx="440">
                  <c:v>44105</c:v>
                </c:pt>
                <c:pt idx="441">
                  <c:v>44109</c:v>
                </c:pt>
                <c:pt idx="442">
                  <c:v>44110</c:v>
                </c:pt>
                <c:pt idx="443">
                  <c:v>44111</c:v>
                </c:pt>
                <c:pt idx="444">
                  <c:v>44112</c:v>
                </c:pt>
                <c:pt idx="445">
                  <c:v>44113</c:v>
                </c:pt>
                <c:pt idx="446">
                  <c:v>44116</c:v>
                </c:pt>
                <c:pt idx="447">
                  <c:v>44117</c:v>
                </c:pt>
                <c:pt idx="448">
                  <c:v>44118</c:v>
                </c:pt>
                <c:pt idx="449">
                  <c:v>44119</c:v>
                </c:pt>
                <c:pt idx="450">
                  <c:v>44120</c:v>
                </c:pt>
                <c:pt idx="451">
                  <c:v>44123</c:v>
                </c:pt>
                <c:pt idx="452">
                  <c:v>44124</c:v>
                </c:pt>
                <c:pt idx="453">
                  <c:v>44125</c:v>
                </c:pt>
                <c:pt idx="454">
                  <c:v>44126</c:v>
                </c:pt>
                <c:pt idx="455">
                  <c:v>44127</c:v>
                </c:pt>
                <c:pt idx="456">
                  <c:v>44130</c:v>
                </c:pt>
                <c:pt idx="457">
                  <c:v>44131</c:v>
                </c:pt>
                <c:pt idx="458">
                  <c:v>44132</c:v>
                </c:pt>
                <c:pt idx="459">
                  <c:v>44133</c:v>
                </c:pt>
                <c:pt idx="460">
                  <c:v>44134</c:v>
                </c:pt>
                <c:pt idx="461">
                  <c:v>44137</c:v>
                </c:pt>
                <c:pt idx="462">
                  <c:v>44138</c:v>
                </c:pt>
                <c:pt idx="463">
                  <c:v>44139</c:v>
                </c:pt>
                <c:pt idx="464">
                  <c:v>44140</c:v>
                </c:pt>
                <c:pt idx="465">
                  <c:v>44141</c:v>
                </c:pt>
                <c:pt idx="466">
                  <c:v>44144</c:v>
                </c:pt>
                <c:pt idx="467">
                  <c:v>44145</c:v>
                </c:pt>
                <c:pt idx="468">
                  <c:v>44146</c:v>
                </c:pt>
                <c:pt idx="469">
                  <c:v>44147</c:v>
                </c:pt>
                <c:pt idx="470">
                  <c:v>44148</c:v>
                </c:pt>
                <c:pt idx="471">
                  <c:v>44151</c:v>
                </c:pt>
                <c:pt idx="472">
                  <c:v>44152</c:v>
                </c:pt>
                <c:pt idx="473">
                  <c:v>44153</c:v>
                </c:pt>
                <c:pt idx="474">
                  <c:v>44154</c:v>
                </c:pt>
                <c:pt idx="475">
                  <c:v>44155</c:v>
                </c:pt>
                <c:pt idx="476">
                  <c:v>44158</c:v>
                </c:pt>
                <c:pt idx="477">
                  <c:v>44159</c:v>
                </c:pt>
                <c:pt idx="478">
                  <c:v>44160</c:v>
                </c:pt>
                <c:pt idx="479">
                  <c:v>44161</c:v>
                </c:pt>
                <c:pt idx="480">
                  <c:v>44162</c:v>
                </c:pt>
                <c:pt idx="481">
                  <c:v>44165</c:v>
                </c:pt>
                <c:pt idx="482">
                  <c:v>44167</c:v>
                </c:pt>
                <c:pt idx="483">
                  <c:v>44168</c:v>
                </c:pt>
                <c:pt idx="484">
                  <c:v>44169</c:v>
                </c:pt>
                <c:pt idx="485">
                  <c:v>44172</c:v>
                </c:pt>
                <c:pt idx="486">
                  <c:v>44173</c:v>
                </c:pt>
                <c:pt idx="487">
                  <c:v>44174</c:v>
                </c:pt>
                <c:pt idx="488">
                  <c:v>44175</c:v>
                </c:pt>
                <c:pt idx="489">
                  <c:v>44176</c:v>
                </c:pt>
                <c:pt idx="490">
                  <c:v>44179</c:v>
                </c:pt>
                <c:pt idx="491">
                  <c:v>44180</c:v>
                </c:pt>
                <c:pt idx="492">
                  <c:v>44186</c:v>
                </c:pt>
                <c:pt idx="493">
                  <c:v>44187</c:v>
                </c:pt>
                <c:pt idx="494">
                  <c:v>44188</c:v>
                </c:pt>
                <c:pt idx="495">
                  <c:v>44189</c:v>
                </c:pt>
                <c:pt idx="496">
                  <c:v>44190</c:v>
                </c:pt>
                <c:pt idx="497">
                  <c:v>44193</c:v>
                </c:pt>
                <c:pt idx="498">
                  <c:v>44194</c:v>
                </c:pt>
                <c:pt idx="499">
                  <c:v>44195</c:v>
                </c:pt>
                <c:pt idx="500">
                  <c:v>44196</c:v>
                </c:pt>
                <c:pt idx="501">
                  <c:v>44201</c:v>
                </c:pt>
                <c:pt idx="502">
                  <c:v>44202</c:v>
                </c:pt>
                <c:pt idx="503">
                  <c:v>44204</c:v>
                </c:pt>
                <c:pt idx="504">
                  <c:v>44207</c:v>
                </c:pt>
                <c:pt idx="505">
                  <c:v>44208</c:v>
                </c:pt>
                <c:pt idx="506">
                  <c:v>44209</c:v>
                </c:pt>
                <c:pt idx="507">
                  <c:v>44210</c:v>
                </c:pt>
                <c:pt idx="508">
                  <c:v>44211</c:v>
                </c:pt>
                <c:pt idx="509">
                  <c:v>44214</c:v>
                </c:pt>
                <c:pt idx="510">
                  <c:v>44215</c:v>
                </c:pt>
                <c:pt idx="511">
                  <c:v>44216</c:v>
                </c:pt>
                <c:pt idx="512">
                  <c:v>44217</c:v>
                </c:pt>
                <c:pt idx="513">
                  <c:v>44218</c:v>
                </c:pt>
                <c:pt idx="514">
                  <c:v>44221</c:v>
                </c:pt>
                <c:pt idx="515">
                  <c:v>44222</c:v>
                </c:pt>
                <c:pt idx="516">
                  <c:v>44223</c:v>
                </c:pt>
                <c:pt idx="517">
                  <c:v>44224</c:v>
                </c:pt>
                <c:pt idx="518">
                  <c:v>44225</c:v>
                </c:pt>
                <c:pt idx="519">
                  <c:v>44228</c:v>
                </c:pt>
                <c:pt idx="520">
                  <c:v>44229</c:v>
                </c:pt>
                <c:pt idx="521">
                  <c:v>44230</c:v>
                </c:pt>
                <c:pt idx="522">
                  <c:v>44231</c:v>
                </c:pt>
                <c:pt idx="523">
                  <c:v>44232</c:v>
                </c:pt>
                <c:pt idx="524">
                  <c:v>44235</c:v>
                </c:pt>
                <c:pt idx="525">
                  <c:v>44236</c:v>
                </c:pt>
                <c:pt idx="526">
                  <c:v>44237</c:v>
                </c:pt>
                <c:pt idx="527">
                  <c:v>44238</c:v>
                </c:pt>
                <c:pt idx="528">
                  <c:v>44239</c:v>
                </c:pt>
                <c:pt idx="529">
                  <c:v>44242</c:v>
                </c:pt>
                <c:pt idx="530">
                  <c:v>44243</c:v>
                </c:pt>
                <c:pt idx="531">
                  <c:v>44244</c:v>
                </c:pt>
                <c:pt idx="532">
                  <c:v>44245</c:v>
                </c:pt>
                <c:pt idx="533">
                  <c:v>44249</c:v>
                </c:pt>
                <c:pt idx="534">
                  <c:v>44250</c:v>
                </c:pt>
                <c:pt idx="535">
                  <c:v>44251</c:v>
                </c:pt>
                <c:pt idx="536">
                  <c:v>44252</c:v>
                </c:pt>
                <c:pt idx="537">
                  <c:v>44253</c:v>
                </c:pt>
                <c:pt idx="538">
                  <c:v>44256</c:v>
                </c:pt>
                <c:pt idx="539">
                  <c:v>44257</c:v>
                </c:pt>
                <c:pt idx="540">
                  <c:v>44258</c:v>
                </c:pt>
                <c:pt idx="541">
                  <c:v>44259</c:v>
                </c:pt>
                <c:pt idx="542">
                  <c:v>44260</c:v>
                </c:pt>
                <c:pt idx="543">
                  <c:v>44264</c:v>
                </c:pt>
                <c:pt idx="544">
                  <c:v>44265</c:v>
                </c:pt>
                <c:pt idx="545">
                  <c:v>44266</c:v>
                </c:pt>
                <c:pt idx="546">
                  <c:v>44267</c:v>
                </c:pt>
                <c:pt idx="547">
                  <c:v>44270</c:v>
                </c:pt>
                <c:pt idx="548">
                  <c:v>44271</c:v>
                </c:pt>
                <c:pt idx="549">
                  <c:v>44272</c:v>
                </c:pt>
                <c:pt idx="550">
                  <c:v>44273</c:v>
                </c:pt>
                <c:pt idx="551">
                  <c:v>44274</c:v>
                </c:pt>
                <c:pt idx="552">
                  <c:v>44280</c:v>
                </c:pt>
                <c:pt idx="553">
                  <c:v>44281</c:v>
                </c:pt>
                <c:pt idx="554">
                  <c:v>44284</c:v>
                </c:pt>
                <c:pt idx="555">
                  <c:v>44285</c:v>
                </c:pt>
                <c:pt idx="556">
                  <c:v>44286</c:v>
                </c:pt>
                <c:pt idx="557">
                  <c:v>44287</c:v>
                </c:pt>
                <c:pt idx="558">
                  <c:v>44288</c:v>
                </c:pt>
                <c:pt idx="559">
                  <c:v>44291</c:v>
                </c:pt>
                <c:pt idx="560">
                  <c:v>44292</c:v>
                </c:pt>
                <c:pt idx="561">
                  <c:v>44293</c:v>
                </c:pt>
                <c:pt idx="562">
                  <c:v>44294</c:v>
                </c:pt>
                <c:pt idx="563">
                  <c:v>44295</c:v>
                </c:pt>
                <c:pt idx="564">
                  <c:v>44298</c:v>
                </c:pt>
                <c:pt idx="565">
                  <c:v>44299</c:v>
                </c:pt>
                <c:pt idx="566">
                  <c:v>44300</c:v>
                </c:pt>
                <c:pt idx="567">
                  <c:v>44301</c:v>
                </c:pt>
                <c:pt idx="568">
                  <c:v>44302</c:v>
                </c:pt>
                <c:pt idx="569">
                  <c:v>44305</c:v>
                </c:pt>
                <c:pt idx="570">
                  <c:v>44306</c:v>
                </c:pt>
                <c:pt idx="571">
                  <c:v>44307</c:v>
                </c:pt>
                <c:pt idx="572">
                  <c:v>44308</c:v>
                </c:pt>
                <c:pt idx="573">
                  <c:v>44309</c:v>
                </c:pt>
                <c:pt idx="574">
                  <c:v>44312</c:v>
                </c:pt>
                <c:pt idx="575">
                  <c:v>44313</c:v>
                </c:pt>
                <c:pt idx="576">
                  <c:v>44314</c:v>
                </c:pt>
                <c:pt idx="577">
                  <c:v>44315</c:v>
                </c:pt>
                <c:pt idx="578">
                  <c:v>44316</c:v>
                </c:pt>
                <c:pt idx="579">
                  <c:v>44320</c:v>
                </c:pt>
                <c:pt idx="580">
                  <c:v>44321</c:v>
                </c:pt>
                <c:pt idx="581">
                  <c:v>44322</c:v>
                </c:pt>
                <c:pt idx="582">
                  <c:v>44327</c:v>
                </c:pt>
                <c:pt idx="583">
                  <c:v>44328</c:v>
                </c:pt>
                <c:pt idx="584">
                  <c:v>44329</c:v>
                </c:pt>
                <c:pt idx="585">
                  <c:v>44333</c:v>
                </c:pt>
                <c:pt idx="586">
                  <c:v>44334</c:v>
                </c:pt>
                <c:pt idx="587">
                  <c:v>44335</c:v>
                </c:pt>
                <c:pt idx="588">
                  <c:v>44336</c:v>
                </c:pt>
                <c:pt idx="589">
                  <c:v>44337</c:v>
                </c:pt>
                <c:pt idx="590">
                  <c:v>44340</c:v>
                </c:pt>
                <c:pt idx="591">
                  <c:v>44341</c:v>
                </c:pt>
                <c:pt idx="592">
                  <c:v>44342</c:v>
                </c:pt>
                <c:pt idx="593">
                  <c:v>44343</c:v>
                </c:pt>
                <c:pt idx="594">
                  <c:v>44344</c:v>
                </c:pt>
                <c:pt idx="595">
                  <c:v>44347</c:v>
                </c:pt>
                <c:pt idx="596">
                  <c:v>44348</c:v>
                </c:pt>
                <c:pt idx="597">
                  <c:v>44349</c:v>
                </c:pt>
                <c:pt idx="598">
                  <c:v>44350</c:v>
                </c:pt>
                <c:pt idx="599">
                  <c:v>44351</c:v>
                </c:pt>
                <c:pt idx="600">
                  <c:v>44355</c:v>
                </c:pt>
                <c:pt idx="601">
                  <c:v>44356</c:v>
                </c:pt>
                <c:pt idx="602">
                  <c:v>44357</c:v>
                </c:pt>
                <c:pt idx="603">
                  <c:v>44358</c:v>
                </c:pt>
                <c:pt idx="604">
                  <c:v>44361</c:v>
                </c:pt>
                <c:pt idx="605">
                  <c:v>44362</c:v>
                </c:pt>
                <c:pt idx="606">
                  <c:v>44363</c:v>
                </c:pt>
                <c:pt idx="607">
                  <c:v>44365</c:v>
                </c:pt>
                <c:pt idx="608">
                  <c:v>44368</c:v>
                </c:pt>
                <c:pt idx="609">
                  <c:v>44369</c:v>
                </c:pt>
                <c:pt idx="610">
                  <c:v>44370</c:v>
                </c:pt>
                <c:pt idx="611">
                  <c:v>44371</c:v>
                </c:pt>
                <c:pt idx="612">
                  <c:v>44372</c:v>
                </c:pt>
                <c:pt idx="613">
                  <c:v>44375</c:v>
                </c:pt>
                <c:pt idx="614">
                  <c:v>44376</c:v>
                </c:pt>
                <c:pt idx="615">
                  <c:v>44377</c:v>
                </c:pt>
                <c:pt idx="616">
                  <c:v>44378</c:v>
                </c:pt>
                <c:pt idx="617">
                  <c:v>44379</c:v>
                </c:pt>
                <c:pt idx="618">
                  <c:v>44384</c:v>
                </c:pt>
                <c:pt idx="619">
                  <c:v>44385</c:v>
                </c:pt>
                <c:pt idx="620">
                  <c:v>44386</c:v>
                </c:pt>
                <c:pt idx="621">
                  <c:v>44389</c:v>
                </c:pt>
                <c:pt idx="622">
                  <c:v>44390</c:v>
                </c:pt>
                <c:pt idx="623">
                  <c:v>44391</c:v>
                </c:pt>
                <c:pt idx="624">
                  <c:v>44392</c:v>
                </c:pt>
                <c:pt idx="625">
                  <c:v>44393</c:v>
                </c:pt>
                <c:pt idx="626">
                  <c:v>44396</c:v>
                </c:pt>
                <c:pt idx="627">
                  <c:v>44398</c:v>
                </c:pt>
                <c:pt idx="628">
                  <c:v>44399</c:v>
                </c:pt>
                <c:pt idx="629">
                  <c:v>44400</c:v>
                </c:pt>
                <c:pt idx="630">
                  <c:v>44403</c:v>
                </c:pt>
                <c:pt idx="631">
                  <c:v>44404</c:v>
                </c:pt>
                <c:pt idx="632">
                  <c:v>44405</c:v>
                </c:pt>
                <c:pt idx="633">
                  <c:v>44406</c:v>
                </c:pt>
                <c:pt idx="634">
                  <c:v>44407</c:v>
                </c:pt>
                <c:pt idx="635">
                  <c:v>44410</c:v>
                </c:pt>
                <c:pt idx="636">
                  <c:v>44411</c:v>
                </c:pt>
                <c:pt idx="637">
                  <c:v>44412</c:v>
                </c:pt>
                <c:pt idx="638">
                  <c:v>44413</c:v>
                </c:pt>
                <c:pt idx="639">
                  <c:v>44414</c:v>
                </c:pt>
                <c:pt idx="640">
                  <c:v>44417</c:v>
                </c:pt>
                <c:pt idx="641">
                  <c:v>44418</c:v>
                </c:pt>
                <c:pt idx="642">
                  <c:v>44419</c:v>
                </c:pt>
                <c:pt idx="643">
                  <c:v>44420</c:v>
                </c:pt>
                <c:pt idx="644">
                  <c:v>44421</c:v>
                </c:pt>
                <c:pt idx="645">
                  <c:v>44424</c:v>
                </c:pt>
                <c:pt idx="646">
                  <c:v>44425</c:v>
                </c:pt>
                <c:pt idx="647">
                  <c:v>44426</c:v>
                </c:pt>
                <c:pt idx="648">
                  <c:v>44427</c:v>
                </c:pt>
                <c:pt idx="649">
                  <c:v>44428</c:v>
                </c:pt>
                <c:pt idx="650">
                  <c:v>44431</c:v>
                </c:pt>
                <c:pt idx="651">
                  <c:v>44432</c:v>
                </c:pt>
                <c:pt idx="652">
                  <c:v>44433</c:v>
                </c:pt>
                <c:pt idx="653">
                  <c:v>44434</c:v>
                </c:pt>
                <c:pt idx="654">
                  <c:v>44435</c:v>
                </c:pt>
                <c:pt idx="655">
                  <c:v>44439</c:v>
                </c:pt>
                <c:pt idx="656">
                  <c:v>44440</c:v>
                </c:pt>
                <c:pt idx="657">
                  <c:v>44441</c:v>
                </c:pt>
                <c:pt idx="658">
                  <c:v>44442</c:v>
                </c:pt>
                <c:pt idx="659">
                  <c:v>44445</c:v>
                </c:pt>
                <c:pt idx="660">
                  <c:v>44446</c:v>
                </c:pt>
                <c:pt idx="661">
                  <c:v>44447</c:v>
                </c:pt>
                <c:pt idx="662">
                  <c:v>44448</c:v>
                </c:pt>
                <c:pt idx="663">
                  <c:v>44449</c:v>
                </c:pt>
                <c:pt idx="664">
                  <c:v>44452</c:v>
                </c:pt>
                <c:pt idx="665">
                  <c:v>44453</c:v>
                </c:pt>
                <c:pt idx="666">
                  <c:v>44454</c:v>
                </c:pt>
                <c:pt idx="667">
                  <c:v>44455</c:v>
                </c:pt>
                <c:pt idx="668">
                  <c:v>44456</c:v>
                </c:pt>
                <c:pt idx="669">
                  <c:v>44459</c:v>
                </c:pt>
                <c:pt idx="670">
                  <c:v>44460</c:v>
                </c:pt>
                <c:pt idx="671">
                  <c:v>44461</c:v>
                </c:pt>
                <c:pt idx="672">
                  <c:v>44462</c:v>
                </c:pt>
                <c:pt idx="673">
                  <c:v>44463</c:v>
                </c:pt>
                <c:pt idx="674">
                  <c:v>44466</c:v>
                </c:pt>
                <c:pt idx="675">
                  <c:v>44467</c:v>
                </c:pt>
                <c:pt idx="676">
                  <c:v>44468</c:v>
                </c:pt>
                <c:pt idx="677">
                  <c:v>44469</c:v>
                </c:pt>
                <c:pt idx="678">
                  <c:v>44470</c:v>
                </c:pt>
                <c:pt idx="679">
                  <c:v>44473</c:v>
                </c:pt>
                <c:pt idx="680">
                  <c:v>44474</c:v>
                </c:pt>
                <c:pt idx="681">
                  <c:v>44475</c:v>
                </c:pt>
                <c:pt idx="682">
                  <c:v>44476</c:v>
                </c:pt>
                <c:pt idx="683">
                  <c:v>44477</c:v>
                </c:pt>
                <c:pt idx="684">
                  <c:v>44480</c:v>
                </c:pt>
                <c:pt idx="685">
                  <c:v>44481</c:v>
                </c:pt>
                <c:pt idx="686">
                  <c:v>44482</c:v>
                </c:pt>
                <c:pt idx="687">
                  <c:v>44483</c:v>
                </c:pt>
                <c:pt idx="688">
                  <c:v>44484</c:v>
                </c:pt>
                <c:pt idx="689">
                  <c:v>44487</c:v>
                </c:pt>
                <c:pt idx="690">
                  <c:v>44488</c:v>
                </c:pt>
                <c:pt idx="691">
                  <c:v>44489</c:v>
                </c:pt>
                <c:pt idx="692">
                  <c:v>44490</c:v>
                </c:pt>
                <c:pt idx="693">
                  <c:v>44491</c:v>
                </c:pt>
                <c:pt idx="694">
                  <c:v>44494</c:v>
                </c:pt>
                <c:pt idx="695">
                  <c:v>44495</c:v>
                </c:pt>
                <c:pt idx="696">
                  <c:v>44496</c:v>
                </c:pt>
                <c:pt idx="697">
                  <c:v>44497</c:v>
                </c:pt>
                <c:pt idx="698">
                  <c:v>44498</c:v>
                </c:pt>
                <c:pt idx="699">
                  <c:v>44501</c:v>
                </c:pt>
                <c:pt idx="700">
                  <c:v>44502</c:v>
                </c:pt>
                <c:pt idx="701">
                  <c:v>44503</c:v>
                </c:pt>
                <c:pt idx="702">
                  <c:v>44504</c:v>
                </c:pt>
                <c:pt idx="703">
                  <c:v>44505</c:v>
                </c:pt>
                <c:pt idx="704">
                  <c:v>44508</c:v>
                </c:pt>
                <c:pt idx="705">
                  <c:v>44509</c:v>
                </c:pt>
                <c:pt idx="706">
                  <c:v>44510</c:v>
                </c:pt>
                <c:pt idx="707">
                  <c:v>44511</c:v>
                </c:pt>
                <c:pt idx="708">
                  <c:v>44512</c:v>
                </c:pt>
                <c:pt idx="709">
                  <c:v>44516</c:v>
                </c:pt>
                <c:pt idx="710">
                  <c:v>44518</c:v>
                </c:pt>
                <c:pt idx="711">
                  <c:v>44519</c:v>
                </c:pt>
                <c:pt idx="712">
                  <c:v>44522</c:v>
                </c:pt>
                <c:pt idx="713">
                  <c:v>44523</c:v>
                </c:pt>
                <c:pt idx="714">
                  <c:v>44524</c:v>
                </c:pt>
                <c:pt idx="715">
                  <c:v>44525</c:v>
                </c:pt>
                <c:pt idx="716">
                  <c:v>44526</c:v>
                </c:pt>
                <c:pt idx="717">
                  <c:v>44529</c:v>
                </c:pt>
                <c:pt idx="718">
                  <c:v>44530</c:v>
                </c:pt>
                <c:pt idx="719">
                  <c:v>44532</c:v>
                </c:pt>
                <c:pt idx="720">
                  <c:v>44533</c:v>
                </c:pt>
                <c:pt idx="721">
                  <c:v>44536</c:v>
                </c:pt>
                <c:pt idx="722">
                  <c:v>44537</c:v>
                </c:pt>
                <c:pt idx="723">
                  <c:v>44538</c:v>
                </c:pt>
                <c:pt idx="724">
                  <c:v>44539</c:v>
                </c:pt>
                <c:pt idx="725">
                  <c:v>44540</c:v>
                </c:pt>
                <c:pt idx="726">
                  <c:v>44543</c:v>
                </c:pt>
                <c:pt idx="727">
                  <c:v>44544</c:v>
                </c:pt>
                <c:pt idx="728">
                  <c:v>44545</c:v>
                </c:pt>
                <c:pt idx="729">
                  <c:v>44550</c:v>
                </c:pt>
                <c:pt idx="730">
                  <c:v>44551</c:v>
                </c:pt>
                <c:pt idx="731">
                  <c:v>44552</c:v>
                </c:pt>
                <c:pt idx="732">
                  <c:v>44553</c:v>
                </c:pt>
                <c:pt idx="733">
                  <c:v>44554</c:v>
                </c:pt>
                <c:pt idx="734">
                  <c:v>44557</c:v>
                </c:pt>
                <c:pt idx="735">
                  <c:v>44558</c:v>
                </c:pt>
                <c:pt idx="736">
                  <c:v>44559</c:v>
                </c:pt>
                <c:pt idx="737">
                  <c:v>44560</c:v>
                </c:pt>
                <c:pt idx="738">
                  <c:v>44561</c:v>
                </c:pt>
                <c:pt idx="739">
                  <c:v>44566</c:v>
                </c:pt>
                <c:pt idx="740">
                  <c:v>44571</c:v>
                </c:pt>
                <c:pt idx="741">
                  <c:v>44572</c:v>
                </c:pt>
                <c:pt idx="742">
                  <c:v>44573</c:v>
                </c:pt>
                <c:pt idx="743">
                  <c:v>44574</c:v>
                </c:pt>
                <c:pt idx="744">
                  <c:v>44575</c:v>
                </c:pt>
                <c:pt idx="745">
                  <c:v>44578</c:v>
                </c:pt>
                <c:pt idx="746">
                  <c:v>44579</c:v>
                </c:pt>
                <c:pt idx="747">
                  <c:v>44580</c:v>
                </c:pt>
                <c:pt idx="748">
                  <c:v>44581</c:v>
                </c:pt>
                <c:pt idx="749">
                  <c:v>44582</c:v>
                </c:pt>
                <c:pt idx="750">
                  <c:v>44585</c:v>
                </c:pt>
                <c:pt idx="751">
                  <c:v>44586</c:v>
                </c:pt>
                <c:pt idx="752">
                  <c:v>44587</c:v>
                </c:pt>
                <c:pt idx="753">
                  <c:v>44588</c:v>
                </c:pt>
                <c:pt idx="754">
                  <c:v>44589</c:v>
                </c:pt>
                <c:pt idx="755">
                  <c:v>44592</c:v>
                </c:pt>
                <c:pt idx="756">
                  <c:v>44593</c:v>
                </c:pt>
                <c:pt idx="757">
                  <c:v>44594</c:v>
                </c:pt>
                <c:pt idx="758">
                  <c:v>44595</c:v>
                </c:pt>
                <c:pt idx="759">
                  <c:v>44596</c:v>
                </c:pt>
                <c:pt idx="760">
                  <c:v>44599</c:v>
                </c:pt>
                <c:pt idx="761">
                  <c:v>44600</c:v>
                </c:pt>
                <c:pt idx="762">
                  <c:v>44601</c:v>
                </c:pt>
                <c:pt idx="763">
                  <c:v>44602</c:v>
                </c:pt>
                <c:pt idx="764">
                  <c:v>44603</c:v>
                </c:pt>
                <c:pt idx="765">
                  <c:v>44606</c:v>
                </c:pt>
                <c:pt idx="766">
                  <c:v>44607</c:v>
                </c:pt>
                <c:pt idx="767">
                  <c:v>44608</c:v>
                </c:pt>
                <c:pt idx="768">
                  <c:v>44609</c:v>
                </c:pt>
                <c:pt idx="769">
                  <c:v>44610</c:v>
                </c:pt>
                <c:pt idx="770">
                  <c:v>44613</c:v>
                </c:pt>
                <c:pt idx="771">
                  <c:v>44614</c:v>
                </c:pt>
                <c:pt idx="772">
                  <c:v>44615</c:v>
                </c:pt>
                <c:pt idx="773">
                  <c:v>44616</c:v>
                </c:pt>
                <c:pt idx="774">
                  <c:v>44617</c:v>
                </c:pt>
                <c:pt idx="775">
                  <c:v>44620</c:v>
                </c:pt>
                <c:pt idx="776">
                  <c:v>44621</c:v>
                </c:pt>
                <c:pt idx="777">
                  <c:v>44622</c:v>
                </c:pt>
                <c:pt idx="778">
                  <c:v>44623</c:v>
                </c:pt>
                <c:pt idx="779">
                  <c:v>44624</c:v>
                </c:pt>
                <c:pt idx="780">
                  <c:v>44629</c:v>
                </c:pt>
                <c:pt idx="781">
                  <c:v>44630</c:v>
                </c:pt>
                <c:pt idx="782">
                  <c:v>44631</c:v>
                </c:pt>
                <c:pt idx="783">
                  <c:v>44634</c:v>
                </c:pt>
                <c:pt idx="784">
                  <c:v>44635</c:v>
                </c:pt>
                <c:pt idx="785">
                  <c:v>44636</c:v>
                </c:pt>
                <c:pt idx="786">
                  <c:v>44637</c:v>
                </c:pt>
                <c:pt idx="787">
                  <c:v>44638</c:v>
                </c:pt>
                <c:pt idx="788">
                  <c:v>44644</c:v>
                </c:pt>
                <c:pt idx="789">
                  <c:v>44645</c:v>
                </c:pt>
                <c:pt idx="790">
                  <c:v>44648</c:v>
                </c:pt>
                <c:pt idx="791">
                  <c:v>44649</c:v>
                </c:pt>
                <c:pt idx="792">
                  <c:v>44650</c:v>
                </c:pt>
                <c:pt idx="793">
                  <c:v>44651</c:v>
                </c:pt>
                <c:pt idx="794">
                  <c:v>44652</c:v>
                </c:pt>
                <c:pt idx="795">
                  <c:v>44655</c:v>
                </c:pt>
                <c:pt idx="796">
                  <c:v>44656</c:v>
                </c:pt>
                <c:pt idx="797">
                  <c:v>44657</c:v>
                </c:pt>
                <c:pt idx="798">
                  <c:v>44658</c:v>
                </c:pt>
                <c:pt idx="799">
                  <c:v>44659</c:v>
                </c:pt>
                <c:pt idx="800">
                  <c:v>44662</c:v>
                </c:pt>
                <c:pt idx="801">
                  <c:v>44663</c:v>
                </c:pt>
                <c:pt idx="802">
                  <c:v>44664</c:v>
                </c:pt>
                <c:pt idx="803">
                  <c:v>44665</c:v>
                </c:pt>
                <c:pt idx="804">
                  <c:v>44666</c:v>
                </c:pt>
                <c:pt idx="805">
                  <c:v>44669</c:v>
                </c:pt>
                <c:pt idx="806">
                  <c:v>44670</c:v>
                </c:pt>
                <c:pt idx="807">
                  <c:v>44671</c:v>
                </c:pt>
                <c:pt idx="808">
                  <c:v>44672</c:v>
                </c:pt>
                <c:pt idx="809">
                  <c:v>44673</c:v>
                </c:pt>
                <c:pt idx="810">
                  <c:v>44676</c:v>
                </c:pt>
                <c:pt idx="811">
                  <c:v>44677</c:v>
                </c:pt>
                <c:pt idx="812">
                  <c:v>44678</c:v>
                </c:pt>
                <c:pt idx="813">
                  <c:v>44679</c:v>
                </c:pt>
                <c:pt idx="814">
                  <c:v>44680</c:v>
                </c:pt>
                <c:pt idx="815">
                  <c:v>44684</c:v>
                </c:pt>
                <c:pt idx="816">
                  <c:v>44685</c:v>
                </c:pt>
                <c:pt idx="817">
                  <c:v>44686</c:v>
                </c:pt>
                <c:pt idx="818">
                  <c:v>44687</c:v>
                </c:pt>
                <c:pt idx="819">
                  <c:v>44692</c:v>
                </c:pt>
                <c:pt idx="820">
                  <c:v>44693</c:v>
                </c:pt>
                <c:pt idx="821">
                  <c:v>44694</c:v>
                </c:pt>
                <c:pt idx="822">
                  <c:v>44697</c:v>
                </c:pt>
                <c:pt idx="823">
                  <c:v>44698</c:v>
                </c:pt>
                <c:pt idx="824">
                  <c:v>44699</c:v>
                </c:pt>
                <c:pt idx="825">
                  <c:v>44700</c:v>
                </c:pt>
                <c:pt idx="826">
                  <c:v>44701</c:v>
                </c:pt>
                <c:pt idx="827">
                  <c:v>44704</c:v>
                </c:pt>
                <c:pt idx="828">
                  <c:v>44705</c:v>
                </c:pt>
                <c:pt idx="829">
                  <c:v>44706</c:v>
                </c:pt>
                <c:pt idx="830">
                  <c:v>44707</c:v>
                </c:pt>
                <c:pt idx="831">
                  <c:v>44708</c:v>
                </c:pt>
                <c:pt idx="832">
                  <c:v>44711</c:v>
                </c:pt>
                <c:pt idx="833">
                  <c:v>44712</c:v>
                </c:pt>
                <c:pt idx="834">
                  <c:v>44713</c:v>
                </c:pt>
                <c:pt idx="835">
                  <c:v>44714</c:v>
                </c:pt>
                <c:pt idx="836">
                  <c:v>44715</c:v>
                </c:pt>
                <c:pt idx="837">
                  <c:v>44718</c:v>
                </c:pt>
                <c:pt idx="838">
                  <c:v>44719</c:v>
                </c:pt>
                <c:pt idx="839">
                  <c:v>44720</c:v>
                </c:pt>
                <c:pt idx="840">
                  <c:v>44721</c:v>
                </c:pt>
                <c:pt idx="841">
                  <c:v>44722</c:v>
                </c:pt>
                <c:pt idx="842">
                  <c:v>44725</c:v>
                </c:pt>
                <c:pt idx="843">
                  <c:v>44726</c:v>
                </c:pt>
                <c:pt idx="844">
                  <c:v>44727</c:v>
                </c:pt>
                <c:pt idx="845">
                  <c:v>44728</c:v>
                </c:pt>
                <c:pt idx="846">
                  <c:v>44729</c:v>
                </c:pt>
                <c:pt idx="847">
                  <c:v>44732</c:v>
                </c:pt>
                <c:pt idx="848">
                  <c:v>44733</c:v>
                </c:pt>
                <c:pt idx="849">
                  <c:v>44734</c:v>
                </c:pt>
                <c:pt idx="850">
                  <c:v>44735</c:v>
                </c:pt>
                <c:pt idx="851">
                  <c:v>44736</c:v>
                </c:pt>
                <c:pt idx="852">
                  <c:v>44739</c:v>
                </c:pt>
                <c:pt idx="853">
                  <c:v>44740</c:v>
                </c:pt>
                <c:pt idx="854">
                  <c:v>44741</c:v>
                </c:pt>
                <c:pt idx="855">
                  <c:v>44742</c:v>
                </c:pt>
                <c:pt idx="856">
                  <c:v>44743</c:v>
                </c:pt>
                <c:pt idx="857">
                  <c:v>44746</c:v>
                </c:pt>
                <c:pt idx="858">
                  <c:v>44747</c:v>
                </c:pt>
                <c:pt idx="859">
                  <c:v>44749</c:v>
                </c:pt>
                <c:pt idx="860">
                  <c:v>44761</c:v>
                </c:pt>
                <c:pt idx="861">
                  <c:v>44762</c:v>
                </c:pt>
                <c:pt idx="862">
                  <c:v>44763</c:v>
                </c:pt>
                <c:pt idx="863">
                  <c:v>44764</c:v>
                </c:pt>
                <c:pt idx="864">
                  <c:v>44767</c:v>
                </c:pt>
                <c:pt idx="865">
                  <c:v>44768</c:v>
                </c:pt>
                <c:pt idx="866">
                  <c:v>44769</c:v>
                </c:pt>
                <c:pt idx="867">
                  <c:v>44770</c:v>
                </c:pt>
                <c:pt idx="868">
                  <c:v>44771</c:v>
                </c:pt>
                <c:pt idx="869">
                  <c:v>44774</c:v>
                </c:pt>
                <c:pt idx="870">
                  <c:v>44776</c:v>
                </c:pt>
                <c:pt idx="871">
                  <c:v>44777</c:v>
                </c:pt>
                <c:pt idx="872">
                  <c:v>44778</c:v>
                </c:pt>
                <c:pt idx="873">
                  <c:v>44781</c:v>
                </c:pt>
                <c:pt idx="874">
                  <c:v>44782</c:v>
                </c:pt>
                <c:pt idx="875">
                  <c:v>44783</c:v>
                </c:pt>
                <c:pt idx="876">
                  <c:v>44784</c:v>
                </c:pt>
                <c:pt idx="877">
                  <c:v>44785</c:v>
                </c:pt>
                <c:pt idx="878">
                  <c:v>44788</c:v>
                </c:pt>
                <c:pt idx="879">
                  <c:v>44789</c:v>
                </c:pt>
                <c:pt idx="880">
                  <c:v>44790</c:v>
                </c:pt>
                <c:pt idx="881">
                  <c:v>44791</c:v>
                </c:pt>
                <c:pt idx="882">
                  <c:v>44792</c:v>
                </c:pt>
                <c:pt idx="883">
                  <c:v>44795</c:v>
                </c:pt>
                <c:pt idx="884">
                  <c:v>44796</c:v>
                </c:pt>
                <c:pt idx="885">
                  <c:v>44797</c:v>
                </c:pt>
                <c:pt idx="886">
                  <c:v>44798</c:v>
                </c:pt>
                <c:pt idx="887">
                  <c:v>44799</c:v>
                </c:pt>
                <c:pt idx="888">
                  <c:v>44804</c:v>
                </c:pt>
                <c:pt idx="889">
                  <c:v>44805</c:v>
                </c:pt>
                <c:pt idx="890">
                  <c:v>44806</c:v>
                </c:pt>
                <c:pt idx="891">
                  <c:v>44809</c:v>
                </c:pt>
                <c:pt idx="892">
                  <c:v>44810</c:v>
                </c:pt>
                <c:pt idx="893">
                  <c:v>44811</c:v>
                </c:pt>
                <c:pt idx="894">
                  <c:v>44812</c:v>
                </c:pt>
                <c:pt idx="895">
                  <c:v>44813</c:v>
                </c:pt>
                <c:pt idx="896">
                  <c:v>44816</c:v>
                </c:pt>
                <c:pt idx="897">
                  <c:v>44817</c:v>
                </c:pt>
                <c:pt idx="898">
                  <c:v>44818</c:v>
                </c:pt>
                <c:pt idx="899">
                  <c:v>44819</c:v>
                </c:pt>
                <c:pt idx="900">
                  <c:v>44820</c:v>
                </c:pt>
                <c:pt idx="901">
                  <c:v>44823</c:v>
                </c:pt>
                <c:pt idx="902">
                  <c:v>44824</c:v>
                </c:pt>
                <c:pt idx="903">
                  <c:v>44825</c:v>
                </c:pt>
                <c:pt idx="904">
                  <c:v>44826</c:v>
                </c:pt>
                <c:pt idx="905">
                  <c:v>44827</c:v>
                </c:pt>
                <c:pt idx="906">
                  <c:v>44830</c:v>
                </c:pt>
                <c:pt idx="907">
                  <c:v>44831</c:v>
                </c:pt>
                <c:pt idx="908">
                  <c:v>44832</c:v>
                </c:pt>
                <c:pt idx="909">
                  <c:v>44833</c:v>
                </c:pt>
                <c:pt idx="910">
                  <c:v>44834</c:v>
                </c:pt>
                <c:pt idx="911">
                  <c:v>44837</c:v>
                </c:pt>
                <c:pt idx="912">
                  <c:v>44838</c:v>
                </c:pt>
                <c:pt idx="913">
                  <c:v>44839</c:v>
                </c:pt>
                <c:pt idx="914">
                  <c:v>44840</c:v>
                </c:pt>
                <c:pt idx="915">
                  <c:v>44841</c:v>
                </c:pt>
                <c:pt idx="916">
                  <c:v>44844</c:v>
                </c:pt>
                <c:pt idx="917">
                  <c:v>44845</c:v>
                </c:pt>
                <c:pt idx="918">
                  <c:v>44846</c:v>
                </c:pt>
                <c:pt idx="919">
                  <c:v>44847</c:v>
                </c:pt>
                <c:pt idx="920">
                  <c:v>44848</c:v>
                </c:pt>
                <c:pt idx="921">
                  <c:v>44851</c:v>
                </c:pt>
                <c:pt idx="922">
                  <c:v>44852</c:v>
                </c:pt>
                <c:pt idx="923">
                  <c:v>44853</c:v>
                </c:pt>
                <c:pt idx="924">
                  <c:v>44854</c:v>
                </c:pt>
                <c:pt idx="925">
                  <c:v>44855</c:v>
                </c:pt>
                <c:pt idx="926">
                  <c:v>44860</c:v>
                </c:pt>
                <c:pt idx="927">
                  <c:v>44861</c:v>
                </c:pt>
                <c:pt idx="928">
                  <c:v>44862</c:v>
                </c:pt>
                <c:pt idx="929">
                  <c:v>44865</c:v>
                </c:pt>
                <c:pt idx="930">
                  <c:v>44866</c:v>
                </c:pt>
                <c:pt idx="931">
                  <c:v>44867</c:v>
                </c:pt>
                <c:pt idx="932">
                  <c:v>44868</c:v>
                </c:pt>
                <c:pt idx="933">
                  <c:v>44869</c:v>
                </c:pt>
                <c:pt idx="934">
                  <c:v>44872</c:v>
                </c:pt>
                <c:pt idx="935">
                  <c:v>44873</c:v>
                </c:pt>
                <c:pt idx="936">
                  <c:v>44874</c:v>
                </c:pt>
                <c:pt idx="937">
                  <c:v>44875</c:v>
                </c:pt>
                <c:pt idx="938">
                  <c:v>44876</c:v>
                </c:pt>
                <c:pt idx="939">
                  <c:v>44879</c:v>
                </c:pt>
                <c:pt idx="940">
                  <c:v>44880</c:v>
                </c:pt>
                <c:pt idx="941">
                  <c:v>44881</c:v>
                </c:pt>
                <c:pt idx="942">
                  <c:v>44882</c:v>
                </c:pt>
                <c:pt idx="943">
                  <c:v>44883</c:v>
                </c:pt>
                <c:pt idx="944">
                  <c:v>44886</c:v>
                </c:pt>
                <c:pt idx="945">
                  <c:v>44887</c:v>
                </c:pt>
                <c:pt idx="946">
                  <c:v>44888</c:v>
                </c:pt>
                <c:pt idx="947">
                  <c:v>44889</c:v>
                </c:pt>
                <c:pt idx="948">
                  <c:v>44890</c:v>
                </c:pt>
                <c:pt idx="949">
                  <c:v>44893</c:v>
                </c:pt>
                <c:pt idx="950">
                  <c:v>44894</c:v>
                </c:pt>
                <c:pt idx="951">
                  <c:v>44895</c:v>
                </c:pt>
                <c:pt idx="952">
                  <c:v>44896</c:v>
                </c:pt>
                <c:pt idx="953">
                  <c:v>44897</c:v>
                </c:pt>
                <c:pt idx="954">
                  <c:v>44900</c:v>
                </c:pt>
                <c:pt idx="955">
                  <c:v>44901</c:v>
                </c:pt>
                <c:pt idx="956">
                  <c:v>44903</c:v>
                </c:pt>
                <c:pt idx="957">
                  <c:v>44904</c:v>
                </c:pt>
                <c:pt idx="958">
                  <c:v>44907</c:v>
                </c:pt>
                <c:pt idx="959">
                  <c:v>44908</c:v>
                </c:pt>
                <c:pt idx="960">
                  <c:v>44909</c:v>
                </c:pt>
                <c:pt idx="961">
                  <c:v>44910</c:v>
                </c:pt>
                <c:pt idx="962">
                  <c:v>44914</c:v>
                </c:pt>
                <c:pt idx="963">
                  <c:v>44915</c:v>
                </c:pt>
                <c:pt idx="964">
                  <c:v>44916</c:v>
                </c:pt>
                <c:pt idx="965">
                  <c:v>44918</c:v>
                </c:pt>
                <c:pt idx="966">
                  <c:v>44921</c:v>
                </c:pt>
                <c:pt idx="967">
                  <c:v>44922</c:v>
                </c:pt>
                <c:pt idx="968">
                  <c:v>44923</c:v>
                </c:pt>
                <c:pt idx="969">
                  <c:v>44924</c:v>
                </c:pt>
                <c:pt idx="970">
                  <c:v>44925</c:v>
                </c:pt>
                <c:pt idx="971">
                  <c:v>44930</c:v>
                </c:pt>
                <c:pt idx="972">
                  <c:v>44931</c:v>
                </c:pt>
                <c:pt idx="973">
                  <c:v>44932</c:v>
                </c:pt>
                <c:pt idx="974">
                  <c:v>44935</c:v>
                </c:pt>
                <c:pt idx="975">
                  <c:v>44936</c:v>
                </c:pt>
                <c:pt idx="976">
                  <c:v>44937</c:v>
                </c:pt>
                <c:pt idx="977">
                  <c:v>44938</c:v>
                </c:pt>
                <c:pt idx="978">
                  <c:v>44939</c:v>
                </c:pt>
                <c:pt idx="979">
                  <c:v>44942</c:v>
                </c:pt>
                <c:pt idx="980">
                  <c:v>44943</c:v>
                </c:pt>
                <c:pt idx="981">
                  <c:v>44944</c:v>
                </c:pt>
                <c:pt idx="982">
                  <c:v>44945</c:v>
                </c:pt>
                <c:pt idx="983">
                  <c:v>44946</c:v>
                </c:pt>
                <c:pt idx="984">
                  <c:v>44949</c:v>
                </c:pt>
                <c:pt idx="985">
                  <c:v>44950</c:v>
                </c:pt>
                <c:pt idx="986">
                  <c:v>44951</c:v>
                </c:pt>
                <c:pt idx="987">
                  <c:v>44952</c:v>
                </c:pt>
                <c:pt idx="988">
                  <c:v>44953</c:v>
                </c:pt>
                <c:pt idx="989">
                  <c:v>44956</c:v>
                </c:pt>
                <c:pt idx="990">
                  <c:v>44957</c:v>
                </c:pt>
                <c:pt idx="991">
                  <c:v>44958</c:v>
                </c:pt>
                <c:pt idx="992">
                  <c:v>44959</c:v>
                </c:pt>
                <c:pt idx="993">
                  <c:v>44960</c:v>
                </c:pt>
                <c:pt idx="994">
                  <c:v>44963</c:v>
                </c:pt>
                <c:pt idx="995">
                  <c:v>44964</c:v>
                </c:pt>
                <c:pt idx="996">
                  <c:v>44965</c:v>
                </c:pt>
                <c:pt idx="997">
                  <c:v>44966</c:v>
                </c:pt>
                <c:pt idx="998">
                  <c:v>44967</c:v>
                </c:pt>
                <c:pt idx="999">
                  <c:v>44970</c:v>
                </c:pt>
                <c:pt idx="1000">
                  <c:v>44971</c:v>
                </c:pt>
                <c:pt idx="1001">
                  <c:v>44972</c:v>
                </c:pt>
                <c:pt idx="1002">
                  <c:v>44973</c:v>
                </c:pt>
                <c:pt idx="1003">
                  <c:v>44974</c:v>
                </c:pt>
                <c:pt idx="1004">
                  <c:v>44977</c:v>
                </c:pt>
                <c:pt idx="1005">
                  <c:v>44978</c:v>
                </c:pt>
                <c:pt idx="1006">
                  <c:v>44979</c:v>
                </c:pt>
                <c:pt idx="1007">
                  <c:v>44980</c:v>
                </c:pt>
                <c:pt idx="1008">
                  <c:v>44981</c:v>
                </c:pt>
                <c:pt idx="1009">
                  <c:v>44984</c:v>
                </c:pt>
                <c:pt idx="1010">
                  <c:v>44985</c:v>
                </c:pt>
                <c:pt idx="1011">
                  <c:v>44986</c:v>
                </c:pt>
                <c:pt idx="1012">
                  <c:v>44987</c:v>
                </c:pt>
                <c:pt idx="1013">
                  <c:v>44988</c:v>
                </c:pt>
                <c:pt idx="1014">
                  <c:v>44991</c:v>
                </c:pt>
                <c:pt idx="1015">
                  <c:v>44992</c:v>
                </c:pt>
                <c:pt idx="1016">
                  <c:v>44994</c:v>
                </c:pt>
                <c:pt idx="1017">
                  <c:v>44995</c:v>
                </c:pt>
                <c:pt idx="1018">
                  <c:v>44998</c:v>
                </c:pt>
                <c:pt idx="1019">
                  <c:v>44999</c:v>
                </c:pt>
                <c:pt idx="1020">
                  <c:v>45000</c:v>
                </c:pt>
                <c:pt idx="1021">
                  <c:v>45001</c:v>
                </c:pt>
                <c:pt idx="1022">
                  <c:v>45002</c:v>
                </c:pt>
                <c:pt idx="1023">
                  <c:v>45005</c:v>
                </c:pt>
                <c:pt idx="1024">
                  <c:v>45009</c:v>
                </c:pt>
                <c:pt idx="1025">
                  <c:v>45012</c:v>
                </c:pt>
                <c:pt idx="1026">
                  <c:v>45013</c:v>
                </c:pt>
                <c:pt idx="1027">
                  <c:v>45014</c:v>
                </c:pt>
                <c:pt idx="1028">
                  <c:v>45015</c:v>
                </c:pt>
                <c:pt idx="1029">
                  <c:v>45016</c:v>
                </c:pt>
                <c:pt idx="1030">
                  <c:v>45019</c:v>
                </c:pt>
                <c:pt idx="1031">
                  <c:v>45020</c:v>
                </c:pt>
                <c:pt idx="1032">
                  <c:v>45021</c:v>
                </c:pt>
                <c:pt idx="1033">
                  <c:v>45022</c:v>
                </c:pt>
                <c:pt idx="1034">
                  <c:v>45023</c:v>
                </c:pt>
                <c:pt idx="1035">
                  <c:v>45026</c:v>
                </c:pt>
                <c:pt idx="1036">
                  <c:v>45027</c:v>
                </c:pt>
                <c:pt idx="1037">
                  <c:v>45028</c:v>
                </c:pt>
                <c:pt idx="1038">
                  <c:v>45029</c:v>
                </c:pt>
                <c:pt idx="1039">
                  <c:v>45030</c:v>
                </c:pt>
                <c:pt idx="1040">
                  <c:v>45033</c:v>
                </c:pt>
                <c:pt idx="1041">
                  <c:v>45034</c:v>
                </c:pt>
                <c:pt idx="1042">
                  <c:v>45035</c:v>
                </c:pt>
                <c:pt idx="1043">
                  <c:v>45036</c:v>
                </c:pt>
                <c:pt idx="1044">
                  <c:v>45037</c:v>
                </c:pt>
                <c:pt idx="1045">
                  <c:v>45040</c:v>
                </c:pt>
                <c:pt idx="1046">
                  <c:v>45041</c:v>
                </c:pt>
                <c:pt idx="1047">
                  <c:v>45042</c:v>
                </c:pt>
                <c:pt idx="1048">
                  <c:v>45043</c:v>
                </c:pt>
                <c:pt idx="1049">
                  <c:v>45044</c:v>
                </c:pt>
                <c:pt idx="1050">
                  <c:v>45048</c:v>
                </c:pt>
                <c:pt idx="1051">
                  <c:v>45049</c:v>
                </c:pt>
                <c:pt idx="1052">
                  <c:v>45050</c:v>
                </c:pt>
                <c:pt idx="1053">
                  <c:v>45051</c:v>
                </c:pt>
                <c:pt idx="1054">
                  <c:v>45056</c:v>
                </c:pt>
                <c:pt idx="1055">
                  <c:v>45057</c:v>
                </c:pt>
                <c:pt idx="1056">
                  <c:v>45058</c:v>
                </c:pt>
                <c:pt idx="1057">
                  <c:v>45061</c:v>
                </c:pt>
                <c:pt idx="1058">
                  <c:v>45062</c:v>
                </c:pt>
                <c:pt idx="1059">
                  <c:v>45063</c:v>
                </c:pt>
                <c:pt idx="1060">
                  <c:v>45064</c:v>
                </c:pt>
                <c:pt idx="1061">
                  <c:v>45065</c:v>
                </c:pt>
                <c:pt idx="1062">
                  <c:v>45068</c:v>
                </c:pt>
                <c:pt idx="1063">
                  <c:v>45069</c:v>
                </c:pt>
                <c:pt idx="1064">
                  <c:v>45070</c:v>
                </c:pt>
                <c:pt idx="1065">
                  <c:v>45072</c:v>
                </c:pt>
                <c:pt idx="1066">
                  <c:v>45075</c:v>
                </c:pt>
                <c:pt idx="1067">
                  <c:v>45076</c:v>
                </c:pt>
                <c:pt idx="1068">
                  <c:v>45078</c:v>
                </c:pt>
                <c:pt idx="1069">
                  <c:v>45079</c:v>
                </c:pt>
                <c:pt idx="1070">
                  <c:v>45083</c:v>
                </c:pt>
                <c:pt idx="1071">
                  <c:v>45084</c:v>
                </c:pt>
                <c:pt idx="1072">
                  <c:v>45085</c:v>
                </c:pt>
                <c:pt idx="1073">
                  <c:v>45086</c:v>
                </c:pt>
                <c:pt idx="1074">
                  <c:v>45089</c:v>
                </c:pt>
                <c:pt idx="1075">
                  <c:v>45091</c:v>
                </c:pt>
                <c:pt idx="1076">
                  <c:v>45092</c:v>
                </c:pt>
                <c:pt idx="1077">
                  <c:v>45096</c:v>
                </c:pt>
                <c:pt idx="1078">
                  <c:v>45097</c:v>
                </c:pt>
                <c:pt idx="1079">
                  <c:v>45099</c:v>
                </c:pt>
                <c:pt idx="1080">
                  <c:v>45100</c:v>
                </c:pt>
                <c:pt idx="1081">
                  <c:v>45104</c:v>
                </c:pt>
                <c:pt idx="1082">
                  <c:v>45106</c:v>
                </c:pt>
                <c:pt idx="1083">
                  <c:v>45107</c:v>
                </c:pt>
                <c:pt idx="1084">
                  <c:v>45110</c:v>
                </c:pt>
                <c:pt idx="1085">
                  <c:v>45111</c:v>
                </c:pt>
                <c:pt idx="1086">
                  <c:v>45112</c:v>
                </c:pt>
                <c:pt idx="1087">
                  <c:v>45117</c:v>
                </c:pt>
                <c:pt idx="1088">
                  <c:v>45118</c:v>
                </c:pt>
                <c:pt idx="1089">
                  <c:v>45119</c:v>
                </c:pt>
                <c:pt idx="1090">
                  <c:v>45120</c:v>
                </c:pt>
                <c:pt idx="1091">
                  <c:v>45121</c:v>
                </c:pt>
                <c:pt idx="1092">
                  <c:v>45124</c:v>
                </c:pt>
                <c:pt idx="1093">
                  <c:v>45125</c:v>
                </c:pt>
                <c:pt idx="1094">
                  <c:v>45126</c:v>
                </c:pt>
                <c:pt idx="1095">
                  <c:v>45127</c:v>
                </c:pt>
                <c:pt idx="1096">
                  <c:v>45128</c:v>
                </c:pt>
                <c:pt idx="1097">
                  <c:v>45131</c:v>
                </c:pt>
                <c:pt idx="1098">
                  <c:v>45132</c:v>
                </c:pt>
                <c:pt idx="1099">
                  <c:v>45133</c:v>
                </c:pt>
                <c:pt idx="1100">
                  <c:v>45134</c:v>
                </c:pt>
                <c:pt idx="1101">
                  <c:v>45135</c:v>
                </c:pt>
                <c:pt idx="1102">
                  <c:v>45138</c:v>
                </c:pt>
                <c:pt idx="1103">
                  <c:v>45139</c:v>
                </c:pt>
                <c:pt idx="1104">
                  <c:v>45140</c:v>
                </c:pt>
                <c:pt idx="1105">
                  <c:v>45141</c:v>
                </c:pt>
                <c:pt idx="1106">
                  <c:v>45142</c:v>
                </c:pt>
                <c:pt idx="1107">
                  <c:v>45145</c:v>
                </c:pt>
                <c:pt idx="1108">
                  <c:v>45146</c:v>
                </c:pt>
                <c:pt idx="1109">
                  <c:v>45147</c:v>
                </c:pt>
                <c:pt idx="1110">
                  <c:v>45148</c:v>
                </c:pt>
                <c:pt idx="1111">
                  <c:v>45149</c:v>
                </c:pt>
                <c:pt idx="1112">
                  <c:v>45152</c:v>
                </c:pt>
                <c:pt idx="1113">
                  <c:v>45153</c:v>
                </c:pt>
                <c:pt idx="1114">
                  <c:v>45154</c:v>
                </c:pt>
                <c:pt idx="1115">
                  <c:v>45155</c:v>
                </c:pt>
                <c:pt idx="1116">
                  <c:v>45156</c:v>
                </c:pt>
                <c:pt idx="1117">
                  <c:v>45159</c:v>
                </c:pt>
                <c:pt idx="1118">
                  <c:v>45160</c:v>
                </c:pt>
                <c:pt idx="1119">
                  <c:v>45161</c:v>
                </c:pt>
                <c:pt idx="1120">
                  <c:v>45162</c:v>
                </c:pt>
                <c:pt idx="1121">
                  <c:v>45163</c:v>
                </c:pt>
                <c:pt idx="1122">
                  <c:v>45166</c:v>
                </c:pt>
                <c:pt idx="1123">
                  <c:v>45167</c:v>
                </c:pt>
                <c:pt idx="1124">
                  <c:v>45169</c:v>
                </c:pt>
                <c:pt idx="1125">
                  <c:v>45170</c:v>
                </c:pt>
                <c:pt idx="1126">
                  <c:v>45173</c:v>
                </c:pt>
                <c:pt idx="1127">
                  <c:v>45174</c:v>
                </c:pt>
                <c:pt idx="1128">
                  <c:v>45175</c:v>
                </c:pt>
                <c:pt idx="1129">
                  <c:v>45176</c:v>
                </c:pt>
                <c:pt idx="1130">
                  <c:v>45177</c:v>
                </c:pt>
                <c:pt idx="1131">
                  <c:v>45180</c:v>
                </c:pt>
                <c:pt idx="1132">
                  <c:v>45181</c:v>
                </c:pt>
                <c:pt idx="1133">
                  <c:v>45182</c:v>
                </c:pt>
                <c:pt idx="1134">
                  <c:v>45183</c:v>
                </c:pt>
                <c:pt idx="1135">
                  <c:v>45184</c:v>
                </c:pt>
                <c:pt idx="1136">
                  <c:v>45187</c:v>
                </c:pt>
                <c:pt idx="1137">
                  <c:v>45188</c:v>
                </c:pt>
                <c:pt idx="1138">
                  <c:v>45189</c:v>
                </c:pt>
                <c:pt idx="1139">
                  <c:v>45190</c:v>
                </c:pt>
                <c:pt idx="1140">
                  <c:v>45191</c:v>
                </c:pt>
                <c:pt idx="1141">
                  <c:v>45194</c:v>
                </c:pt>
                <c:pt idx="1142">
                  <c:v>45195</c:v>
                </c:pt>
                <c:pt idx="1143">
                  <c:v>45196</c:v>
                </c:pt>
                <c:pt idx="1144">
                  <c:v>45197</c:v>
                </c:pt>
                <c:pt idx="1145">
                  <c:v>45198</c:v>
                </c:pt>
                <c:pt idx="1146">
                  <c:v>45201</c:v>
                </c:pt>
                <c:pt idx="1147">
                  <c:v>45202</c:v>
                </c:pt>
                <c:pt idx="1148">
                  <c:v>45203</c:v>
                </c:pt>
                <c:pt idx="1149">
                  <c:v>45204</c:v>
                </c:pt>
                <c:pt idx="1150">
                  <c:v>45205</c:v>
                </c:pt>
                <c:pt idx="1151">
                  <c:v>45208</c:v>
                </c:pt>
                <c:pt idx="1152">
                  <c:v>45209</c:v>
                </c:pt>
                <c:pt idx="1153">
                  <c:v>45210</c:v>
                </c:pt>
                <c:pt idx="1154">
                  <c:v>45211</c:v>
                </c:pt>
                <c:pt idx="1155">
                  <c:v>45212</c:v>
                </c:pt>
                <c:pt idx="1156">
                  <c:v>45215</c:v>
                </c:pt>
                <c:pt idx="1157">
                  <c:v>45216</c:v>
                </c:pt>
                <c:pt idx="1158">
                  <c:v>45217</c:v>
                </c:pt>
                <c:pt idx="1159">
                  <c:v>45218</c:v>
                </c:pt>
                <c:pt idx="1160">
                  <c:v>45219</c:v>
                </c:pt>
                <c:pt idx="1161">
                  <c:v>45222</c:v>
                </c:pt>
                <c:pt idx="1162">
                  <c:v>45223</c:v>
                </c:pt>
                <c:pt idx="1163">
                  <c:v>45225</c:v>
                </c:pt>
                <c:pt idx="1164">
                  <c:v>45229</c:v>
                </c:pt>
                <c:pt idx="1165">
                  <c:v>45230</c:v>
                </c:pt>
                <c:pt idx="1166">
                  <c:v>45231</c:v>
                </c:pt>
                <c:pt idx="1167">
                  <c:v>45232</c:v>
                </c:pt>
                <c:pt idx="1168">
                  <c:v>45233</c:v>
                </c:pt>
                <c:pt idx="1169">
                  <c:v>45236</c:v>
                </c:pt>
                <c:pt idx="1170">
                  <c:v>45237</c:v>
                </c:pt>
                <c:pt idx="1171">
                  <c:v>45238</c:v>
                </c:pt>
                <c:pt idx="1172">
                  <c:v>45239</c:v>
                </c:pt>
                <c:pt idx="1173">
                  <c:v>45240</c:v>
                </c:pt>
                <c:pt idx="1174">
                  <c:v>45243</c:v>
                </c:pt>
                <c:pt idx="1175">
                  <c:v>45244</c:v>
                </c:pt>
                <c:pt idx="1176">
                  <c:v>45245</c:v>
                </c:pt>
                <c:pt idx="1177">
                  <c:v>45246</c:v>
                </c:pt>
                <c:pt idx="1178">
                  <c:v>45247</c:v>
                </c:pt>
                <c:pt idx="1179">
                  <c:v>45250</c:v>
                </c:pt>
                <c:pt idx="1180">
                  <c:v>45251</c:v>
                </c:pt>
                <c:pt idx="1181">
                  <c:v>45252</c:v>
                </c:pt>
                <c:pt idx="1182">
                  <c:v>45253</c:v>
                </c:pt>
                <c:pt idx="1183">
                  <c:v>45254</c:v>
                </c:pt>
                <c:pt idx="1184">
                  <c:v>45257</c:v>
                </c:pt>
                <c:pt idx="1185">
                  <c:v>45258</c:v>
                </c:pt>
                <c:pt idx="1186">
                  <c:v>45259</c:v>
                </c:pt>
                <c:pt idx="1187">
                  <c:v>45260</c:v>
                </c:pt>
                <c:pt idx="1188">
                  <c:v>45261</c:v>
                </c:pt>
                <c:pt idx="1189">
                  <c:v>45264</c:v>
                </c:pt>
                <c:pt idx="1190">
                  <c:v>45265</c:v>
                </c:pt>
                <c:pt idx="1191">
                  <c:v>45266</c:v>
                </c:pt>
                <c:pt idx="1192">
                  <c:v>45267</c:v>
                </c:pt>
                <c:pt idx="1193">
                  <c:v>45268</c:v>
                </c:pt>
                <c:pt idx="1194">
                  <c:v>45271</c:v>
                </c:pt>
                <c:pt idx="1195">
                  <c:v>45272</c:v>
                </c:pt>
                <c:pt idx="1196">
                  <c:v>45273</c:v>
                </c:pt>
                <c:pt idx="1197">
                  <c:v>45274</c:v>
                </c:pt>
                <c:pt idx="1198">
                  <c:v>45275</c:v>
                </c:pt>
                <c:pt idx="1199">
                  <c:v>45279</c:v>
                </c:pt>
                <c:pt idx="1200">
                  <c:v>45280</c:v>
                </c:pt>
                <c:pt idx="1201">
                  <c:v>45281</c:v>
                </c:pt>
                <c:pt idx="1202">
                  <c:v>45282</c:v>
                </c:pt>
                <c:pt idx="1203">
                  <c:v>45285</c:v>
                </c:pt>
                <c:pt idx="1204">
                  <c:v>45286</c:v>
                </c:pt>
                <c:pt idx="1205">
                  <c:v>45287</c:v>
                </c:pt>
                <c:pt idx="1206">
                  <c:v>45288</c:v>
                </c:pt>
                <c:pt idx="1207">
                  <c:v>45289</c:v>
                </c:pt>
                <c:pt idx="1208">
                  <c:v>45294</c:v>
                </c:pt>
                <c:pt idx="1209">
                  <c:v>45295</c:v>
                </c:pt>
                <c:pt idx="1210">
                  <c:v>45296</c:v>
                </c:pt>
                <c:pt idx="1211">
                  <c:v>45299</c:v>
                </c:pt>
                <c:pt idx="1212">
                  <c:v>45300</c:v>
                </c:pt>
                <c:pt idx="1213">
                  <c:v>45301</c:v>
                </c:pt>
                <c:pt idx="1214">
                  <c:v>45302</c:v>
                </c:pt>
                <c:pt idx="1215">
                  <c:v>45303</c:v>
                </c:pt>
                <c:pt idx="1216">
                  <c:v>45306</c:v>
                </c:pt>
                <c:pt idx="1217">
                  <c:v>45307</c:v>
                </c:pt>
                <c:pt idx="1218">
                  <c:v>45308</c:v>
                </c:pt>
                <c:pt idx="1219">
                  <c:v>45309</c:v>
                </c:pt>
                <c:pt idx="1220">
                  <c:v>45310</c:v>
                </c:pt>
                <c:pt idx="1221">
                  <c:v>45313</c:v>
                </c:pt>
                <c:pt idx="1222">
                  <c:v>45314</c:v>
                </c:pt>
                <c:pt idx="1223">
                  <c:v>45315</c:v>
                </c:pt>
                <c:pt idx="1224">
                  <c:v>45316</c:v>
                </c:pt>
                <c:pt idx="1225">
                  <c:v>45317</c:v>
                </c:pt>
                <c:pt idx="1226">
                  <c:v>45320</c:v>
                </c:pt>
                <c:pt idx="1227">
                  <c:v>45321</c:v>
                </c:pt>
                <c:pt idx="1228">
                  <c:v>45322</c:v>
                </c:pt>
                <c:pt idx="1229">
                  <c:v>45323</c:v>
                </c:pt>
                <c:pt idx="1230">
                  <c:v>45324</c:v>
                </c:pt>
                <c:pt idx="1231">
                  <c:v>45327</c:v>
                </c:pt>
                <c:pt idx="1232">
                  <c:v>45328</c:v>
                </c:pt>
                <c:pt idx="1233">
                  <c:v>45329</c:v>
                </c:pt>
                <c:pt idx="1234">
                  <c:v>45330</c:v>
                </c:pt>
                <c:pt idx="1235">
                  <c:v>45331</c:v>
                </c:pt>
                <c:pt idx="1236">
                  <c:v>45334</c:v>
                </c:pt>
                <c:pt idx="1237">
                  <c:v>45335</c:v>
                </c:pt>
                <c:pt idx="1238">
                  <c:v>45336</c:v>
                </c:pt>
                <c:pt idx="1239">
                  <c:v>45337</c:v>
                </c:pt>
                <c:pt idx="1240">
                  <c:v>45338</c:v>
                </c:pt>
                <c:pt idx="1241">
                  <c:v>45341</c:v>
                </c:pt>
                <c:pt idx="1242">
                  <c:v>45342</c:v>
                </c:pt>
                <c:pt idx="1243">
                  <c:v>45343</c:v>
                </c:pt>
                <c:pt idx="1244">
                  <c:v>45344</c:v>
                </c:pt>
                <c:pt idx="1245">
                  <c:v>45345</c:v>
                </c:pt>
                <c:pt idx="1246">
                  <c:v>45348</c:v>
                </c:pt>
                <c:pt idx="1247">
                  <c:v>45349</c:v>
                </c:pt>
                <c:pt idx="1248">
                  <c:v>45350</c:v>
                </c:pt>
                <c:pt idx="1249">
                  <c:v>45351</c:v>
                </c:pt>
                <c:pt idx="1250">
                  <c:v>45352</c:v>
                </c:pt>
                <c:pt idx="1251">
                  <c:v>45355</c:v>
                </c:pt>
                <c:pt idx="1252">
                  <c:v>45356</c:v>
                </c:pt>
                <c:pt idx="1253">
                  <c:v>45357</c:v>
                </c:pt>
                <c:pt idx="1254">
                  <c:v>45358</c:v>
                </c:pt>
                <c:pt idx="1255">
                  <c:v>45362</c:v>
                </c:pt>
                <c:pt idx="1256">
                  <c:v>45363</c:v>
                </c:pt>
                <c:pt idx="1257">
                  <c:v>45364</c:v>
                </c:pt>
                <c:pt idx="1258">
                  <c:v>45365</c:v>
                </c:pt>
                <c:pt idx="1259">
                  <c:v>45366</c:v>
                </c:pt>
                <c:pt idx="1260">
                  <c:v>45369</c:v>
                </c:pt>
                <c:pt idx="1261">
                  <c:v>45370</c:v>
                </c:pt>
                <c:pt idx="1262">
                  <c:v>45371</c:v>
                </c:pt>
                <c:pt idx="1263">
                  <c:v>45377</c:v>
                </c:pt>
                <c:pt idx="1264">
                  <c:v>45378</c:v>
                </c:pt>
                <c:pt idx="1265">
                  <c:v>45379</c:v>
                </c:pt>
                <c:pt idx="1266">
                  <c:v>45380</c:v>
                </c:pt>
                <c:pt idx="1267">
                  <c:v>45383</c:v>
                </c:pt>
                <c:pt idx="1268">
                  <c:v>45384</c:v>
                </c:pt>
                <c:pt idx="1269">
                  <c:v>45385</c:v>
                </c:pt>
                <c:pt idx="1270">
                  <c:v>45386</c:v>
                </c:pt>
                <c:pt idx="1271">
                  <c:v>45387</c:v>
                </c:pt>
                <c:pt idx="1272">
                  <c:v>45390</c:v>
                </c:pt>
                <c:pt idx="1273">
                  <c:v>45391</c:v>
                </c:pt>
                <c:pt idx="1274">
                  <c:v>45392</c:v>
                </c:pt>
                <c:pt idx="1275">
                  <c:v>45393</c:v>
                </c:pt>
                <c:pt idx="1276">
                  <c:v>45394</c:v>
                </c:pt>
                <c:pt idx="1277">
                  <c:v>45397</c:v>
                </c:pt>
                <c:pt idx="1278">
                  <c:v>45398</c:v>
                </c:pt>
                <c:pt idx="1279">
                  <c:v>45399</c:v>
                </c:pt>
                <c:pt idx="1280">
                  <c:v>45400</c:v>
                </c:pt>
                <c:pt idx="1281">
                  <c:v>45401</c:v>
                </c:pt>
                <c:pt idx="1282">
                  <c:v>45404</c:v>
                </c:pt>
                <c:pt idx="1283">
                  <c:v>45405</c:v>
                </c:pt>
                <c:pt idx="1284">
                  <c:v>45406</c:v>
                </c:pt>
                <c:pt idx="1285">
                  <c:v>45407</c:v>
                </c:pt>
                <c:pt idx="1286">
                  <c:v>45408</c:v>
                </c:pt>
                <c:pt idx="1287">
                  <c:v>45411</c:v>
                </c:pt>
                <c:pt idx="1288">
                  <c:v>45412</c:v>
                </c:pt>
                <c:pt idx="1289" formatCode="m/d/yyyy">
                  <c:v>45414</c:v>
                </c:pt>
                <c:pt idx="1290" formatCode="m/d/yyyy">
                  <c:v>45415</c:v>
                </c:pt>
                <c:pt idx="1291" formatCode="m/d/yyyy">
                  <c:v>45418</c:v>
                </c:pt>
                <c:pt idx="1292" formatCode="m/d/yyyy">
                  <c:v>45422</c:v>
                </c:pt>
                <c:pt idx="1293" formatCode="m/d/yyyy">
                  <c:v>45425</c:v>
                </c:pt>
                <c:pt idx="1294" formatCode="m/d/yyyy">
                  <c:v>45426</c:v>
                </c:pt>
                <c:pt idx="1295" formatCode="m/d/yyyy">
                  <c:v>45427</c:v>
                </c:pt>
                <c:pt idx="1296" formatCode="m/d/yyyy">
                  <c:v>45428</c:v>
                </c:pt>
                <c:pt idx="1297" formatCode="m/d/yyyy">
                  <c:v>45429</c:v>
                </c:pt>
                <c:pt idx="1298" formatCode="m/d/yyyy">
                  <c:v>45432</c:v>
                </c:pt>
                <c:pt idx="1299" formatCode="m/d/yyyy">
                  <c:v>45433</c:v>
                </c:pt>
                <c:pt idx="1300" formatCode="m/d/yyyy">
                  <c:v>45434</c:v>
                </c:pt>
                <c:pt idx="1301" formatCode="m/d/yyyy">
                  <c:v>45435</c:v>
                </c:pt>
                <c:pt idx="1302" formatCode="m/d/yyyy">
                  <c:v>45436</c:v>
                </c:pt>
                <c:pt idx="1303" formatCode="m/d/yyyy">
                  <c:v>45439</c:v>
                </c:pt>
                <c:pt idx="1304" formatCode="m/d/yyyy">
                  <c:v>45440</c:v>
                </c:pt>
                <c:pt idx="1305" formatCode="m/d/yyyy">
                  <c:v>45441</c:v>
                </c:pt>
                <c:pt idx="1306" formatCode="m/d/yyyy">
                  <c:v>45442</c:v>
                </c:pt>
                <c:pt idx="1307" formatCode="m/d/yyyy">
                  <c:v>45443</c:v>
                </c:pt>
                <c:pt idx="1308">
                  <c:v>45446</c:v>
                </c:pt>
                <c:pt idx="1309">
                  <c:v>45447</c:v>
                </c:pt>
                <c:pt idx="1310">
                  <c:v>45448</c:v>
                </c:pt>
                <c:pt idx="1311">
                  <c:v>45449</c:v>
                </c:pt>
                <c:pt idx="1312">
                  <c:v>45450</c:v>
                </c:pt>
                <c:pt idx="1313">
                  <c:v>45453</c:v>
                </c:pt>
                <c:pt idx="1314">
                  <c:v>45454</c:v>
                </c:pt>
                <c:pt idx="1315">
                  <c:v>45455</c:v>
                </c:pt>
                <c:pt idx="1316">
                  <c:v>45456</c:v>
                </c:pt>
                <c:pt idx="1317">
                  <c:v>45457</c:v>
                </c:pt>
                <c:pt idx="1318">
                  <c:v>45460</c:v>
                </c:pt>
                <c:pt idx="1319">
                  <c:v>45461</c:v>
                </c:pt>
                <c:pt idx="1320">
                  <c:v>45462</c:v>
                </c:pt>
                <c:pt idx="1321">
                  <c:v>45463</c:v>
                </c:pt>
                <c:pt idx="1322">
                  <c:v>45464</c:v>
                </c:pt>
                <c:pt idx="1323">
                  <c:v>45467</c:v>
                </c:pt>
                <c:pt idx="1324">
                  <c:v>45468</c:v>
                </c:pt>
                <c:pt idx="1325">
                  <c:v>45469</c:v>
                </c:pt>
                <c:pt idx="1326">
                  <c:v>45470</c:v>
                </c:pt>
                <c:pt idx="1327">
                  <c:v>45471</c:v>
                </c:pt>
                <c:pt idx="1328">
                  <c:v>45474</c:v>
                </c:pt>
                <c:pt idx="1329">
                  <c:v>45475</c:v>
                </c:pt>
                <c:pt idx="1330">
                  <c:v>45476</c:v>
                </c:pt>
                <c:pt idx="1331">
                  <c:v>45477</c:v>
                </c:pt>
                <c:pt idx="1332">
                  <c:v>45478</c:v>
                </c:pt>
                <c:pt idx="1333">
                  <c:v>45482</c:v>
                </c:pt>
                <c:pt idx="1334">
                  <c:v>45483</c:v>
                </c:pt>
                <c:pt idx="1335">
                  <c:v>45484</c:v>
                </c:pt>
                <c:pt idx="1336">
                  <c:v>45485</c:v>
                </c:pt>
                <c:pt idx="1337">
                  <c:v>45488</c:v>
                </c:pt>
                <c:pt idx="1338">
                  <c:v>45489</c:v>
                </c:pt>
                <c:pt idx="1339">
                  <c:v>45490</c:v>
                </c:pt>
                <c:pt idx="1340">
                  <c:v>45491</c:v>
                </c:pt>
                <c:pt idx="1341">
                  <c:v>45492</c:v>
                </c:pt>
                <c:pt idx="1342">
                  <c:v>45495</c:v>
                </c:pt>
                <c:pt idx="1343">
                  <c:v>45496</c:v>
                </c:pt>
                <c:pt idx="1344">
                  <c:v>45497</c:v>
                </c:pt>
                <c:pt idx="1345">
                  <c:v>45498</c:v>
                </c:pt>
                <c:pt idx="1346">
                  <c:v>45499</c:v>
                </c:pt>
                <c:pt idx="1347">
                  <c:v>45502</c:v>
                </c:pt>
                <c:pt idx="1348">
                  <c:v>45503</c:v>
                </c:pt>
                <c:pt idx="1349">
                  <c:v>45504</c:v>
                </c:pt>
                <c:pt idx="1350">
                  <c:v>45505</c:v>
                </c:pt>
                <c:pt idx="1351">
                  <c:v>45506</c:v>
                </c:pt>
                <c:pt idx="1352">
                  <c:v>45509</c:v>
                </c:pt>
                <c:pt idx="1353">
                  <c:v>45510</c:v>
                </c:pt>
                <c:pt idx="1354">
                  <c:v>45511</c:v>
                </c:pt>
                <c:pt idx="1355">
                  <c:v>45512</c:v>
                </c:pt>
                <c:pt idx="1356">
                  <c:v>45513</c:v>
                </c:pt>
                <c:pt idx="1357">
                  <c:v>45516</c:v>
                </c:pt>
                <c:pt idx="1358">
                  <c:v>45517</c:v>
                </c:pt>
                <c:pt idx="1359">
                  <c:v>45518</c:v>
                </c:pt>
                <c:pt idx="1360">
                  <c:v>45519</c:v>
                </c:pt>
                <c:pt idx="1361">
                  <c:v>45520</c:v>
                </c:pt>
                <c:pt idx="1362">
                  <c:v>45523</c:v>
                </c:pt>
                <c:pt idx="1363">
                  <c:v>45524</c:v>
                </c:pt>
                <c:pt idx="1364">
                  <c:v>45525</c:v>
                </c:pt>
                <c:pt idx="1365">
                  <c:v>45526</c:v>
                </c:pt>
                <c:pt idx="1366">
                  <c:v>45527</c:v>
                </c:pt>
                <c:pt idx="1367">
                  <c:v>45530</c:v>
                </c:pt>
                <c:pt idx="1368">
                  <c:v>45531</c:v>
                </c:pt>
                <c:pt idx="1369">
                  <c:v>45532</c:v>
                </c:pt>
                <c:pt idx="1370">
                  <c:v>45533</c:v>
                </c:pt>
                <c:pt idx="1371">
                  <c:v>45537</c:v>
                </c:pt>
                <c:pt idx="1372">
                  <c:v>45538</c:v>
                </c:pt>
                <c:pt idx="1373">
                  <c:v>45539</c:v>
                </c:pt>
                <c:pt idx="1374">
                  <c:v>45540</c:v>
                </c:pt>
                <c:pt idx="1375">
                  <c:v>45541</c:v>
                </c:pt>
                <c:pt idx="1376">
                  <c:v>45544</c:v>
                </c:pt>
                <c:pt idx="1377">
                  <c:v>45545</c:v>
                </c:pt>
                <c:pt idx="1378">
                  <c:v>45546</c:v>
                </c:pt>
                <c:pt idx="1379">
                  <c:v>45547</c:v>
                </c:pt>
                <c:pt idx="1380">
                  <c:v>45548</c:v>
                </c:pt>
                <c:pt idx="1381">
                  <c:v>45551</c:v>
                </c:pt>
                <c:pt idx="1382">
                  <c:v>45552</c:v>
                </c:pt>
                <c:pt idx="1383">
                  <c:v>45553</c:v>
                </c:pt>
                <c:pt idx="1384">
                  <c:v>45554</c:v>
                </c:pt>
                <c:pt idx="1385">
                  <c:v>45555</c:v>
                </c:pt>
                <c:pt idx="1386">
                  <c:v>45558</c:v>
                </c:pt>
                <c:pt idx="1387">
                  <c:v>45559</c:v>
                </c:pt>
                <c:pt idx="1388">
                  <c:v>45560</c:v>
                </c:pt>
                <c:pt idx="1389">
                  <c:v>45561</c:v>
                </c:pt>
                <c:pt idx="1390">
                  <c:v>45562</c:v>
                </c:pt>
                <c:pt idx="1391">
                  <c:v>45565</c:v>
                </c:pt>
                <c:pt idx="1392">
                  <c:v>45566</c:v>
                </c:pt>
                <c:pt idx="1393">
                  <c:v>45567</c:v>
                </c:pt>
                <c:pt idx="1394">
                  <c:v>45568</c:v>
                </c:pt>
                <c:pt idx="1395">
                  <c:v>45569</c:v>
                </c:pt>
                <c:pt idx="1396">
                  <c:v>45572</c:v>
                </c:pt>
                <c:pt idx="1397">
                  <c:v>45573</c:v>
                </c:pt>
                <c:pt idx="1398">
                  <c:v>45574</c:v>
                </c:pt>
                <c:pt idx="1399">
                  <c:v>45575</c:v>
                </c:pt>
                <c:pt idx="1400">
                  <c:v>45576</c:v>
                </c:pt>
                <c:pt idx="1401">
                  <c:v>45579</c:v>
                </c:pt>
                <c:pt idx="1402">
                  <c:v>45580</c:v>
                </c:pt>
                <c:pt idx="1403">
                  <c:v>45581</c:v>
                </c:pt>
                <c:pt idx="1404">
                  <c:v>45582</c:v>
                </c:pt>
                <c:pt idx="1405">
                  <c:v>45583</c:v>
                </c:pt>
                <c:pt idx="1406">
                  <c:v>45586</c:v>
                </c:pt>
                <c:pt idx="1407">
                  <c:v>45587</c:v>
                </c:pt>
                <c:pt idx="1408">
                  <c:v>45588</c:v>
                </c:pt>
                <c:pt idx="1409">
                  <c:v>45589</c:v>
                </c:pt>
                <c:pt idx="1410">
                  <c:v>45593</c:v>
                </c:pt>
                <c:pt idx="1411">
                  <c:v>45594</c:v>
                </c:pt>
                <c:pt idx="1412">
                  <c:v>45595</c:v>
                </c:pt>
                <c:pt idx="1413">
                  <c:v>45596</c:v>
                </c:pt>
                <c:pt idx="1414">
                  <c:v>45597</c:v>
                </c:pt>
                <c:pt idx="1415">
                  <c:v>45600</c:v>
                </c:pt>
                <c:pt idx="1416">
                  <c:v>45601</c:v>
                </c:pt>
                <c:pt idx="1417">
                  <c:v>45602</c:v>
                </c:pt>
                <c:pt idx="1418">
                  <c:v>45603</c:v>
                </c:pt>
                <c:pt idx="1419">
                  <c:v>45604</c:v>
                </c:pt>
                <c:pt idx="1420">
                  <c:v>45607</c:v>
                </c:pt>
                <c:pt idx="1421">
                  <c:v>45608</c:v>
                </c:pt>
                <c:pt idx="1422">
                  <c:v>45609</c:v>
                </c:pt>
                <c:pt idx="1423">
                  <c:v>45610</c:v>
                </c:pt>
                <c:pt idx="1424">
                  <c:v>45611</c:v>
                </c:pt>
                <c:pt idx="1425">
                  <c:v>45614</c:v>
                </c:pt>
                <c:pt idx="1426">
                  <c:v>45615</c:v>
                </c:pt>
                <c:pt idx="1427">
                  <c:v>45616</c:v>
                </c:pt>
                <c:pt idx="1428">
                  <c:v>45617</c:v>
                </c:pt>
                <c:pt idx="1429">
                  <c:v>45618</c:v>
                </c:pt>
                <c:pt idx="1430">
                  <c:v>45621</c:v>
                </c:pt>
                <c:pt idx="1431">
                  <c:v>45622</c:v>
                </c:pt>
                <c:pt idx="1432">
                  <c:v>45623</c:v>
                </c:pt>
                <c:pt idx="1433">
                  <c:v>45624</c:v>
                </c:pt>
                <c:pt idx="1434">
                  <c:v>45625</c:v>
                </c:pt>
                <c:pt idx="1435">
                  <c:v>45628</c:v>
                </c:pt>
                <c:pt idx="1436">
                  <c:v>45629</c:v>
                </c:pt>
                <c:pt idx="1437">
                  <c:v>45630</c:v>
                </c:pt>
                <c:pt idx="1438">
                  <c:v>45631</c:v>
                </c:pt>
                <c:pt idx="1439">
                  <c:v>45632</c:v>
                </c:pt>
                <c:pt idx="1440">
                  <c:v>45635</c:v>
                </c:pt>
                <c:pt idx="1441">
                  <c:v>45636</c:v>
                </c:pt>
                <c:pt idx="1442">
                  <c:v>45637</c:v>
                </c:pt>
                <c:pt idx="1443">
                  <c:v>45638</c:v>
                </c:pt>
                <c:pt idx="1444">
                  <c:v>45639</c:v>
                </c:pt>
                <c:pt idx="1445">
                  <c:v>45643</c:v>
                </c:pt>
                <c:pt idx="1446">
                  <c:v>45644</c:v>
                </c:pt>
                <c:pt idx="1447">
                  <c:v>45645</c:v>
                </c:pt>
                <c:pt idx="1448">
                  <c:v>45646</c:v>
                </c:pt>
                <c:pt idx="1449">
                  <c:v>45649</c:v>
                </c:pt>
                <c:pt idx="1450">
                  <c:v>45650</c:v>
                </c:pt>
                <c:pt idx="1451">
                  <c:v>45651</c:v>
                </c:pt>
                <c:pt idx="1452">
                  <c:v>45652</c:v>
                </c:pt>
                <c:pt idx="1453">
                  <c:v>45653</c:v>
                </c:pt>
                <c:pt idx="1454">
                  <c:v>45656</c:v>
                </c:pt>
                <c:pt idx="1455">
                  <c:v>45657</c:v>
                </c:pt>
                <c:pt idx="1456">
                  <c:v>45663</c:v>
                </c:pt>
                <c:pt idx="1457">
                  <c:v>45665</c:v>
                </c:pt>
                <c:pt idx="1458">
                  <c:v>45666</c:v>
                </c:pt>
                <c:pt idx="1459">
                  <c:v>45667</c:v>
                </c:pt>
                <c:pt idx="1460">
                  <c:v>45670</c:v>
                </c:pt>
                <c:pt idx="1461">
                  <c:v>45671</c:v>
                </c:pt>
                <c:pt idx="1462">
                  <c:v>45672</c:v>
                </c:pt>
                <c:pt idx="1463">
                  <c:v>45673</c:v>
                </c:pt>
                <c:pt idx="1464">
                  <c:v>45674</c:v>
                </c:pt>
                <c:pt idx="1465">
                  <c:v>45677</c:v>
                </c:pt>
                <c:pt idx="1466">
                  <c:v>45678</c:v>
                </c:pt>
                <c:pt idx="1467">
                  <c:v>45679</c:v>
                </c:pt>
                <c:pt idx="1468">
                  <c:v>45680</c:v>
                </c:pt>
                <c:pt idx="1469">
                  <c:v>45681</c:v>
                </c:pt>
                <c:pt idx="1470">
                  <c:v>45684</c:v>
                </c:pt>
                <c:pt idx="1471">
                  <c:v>45685</c:v>
                </c:pt>
                <c:pt idx="1472">
                  <c:v>45686</c:v>
                </c:pt>
                <c:pt idx="1473">
                  <c:v>45687</c:v>
                </c:pt>
                <c:pt idx="1474">
                  <c:v>45688</c:v>
                </c:pt>
                <c:pt idx="1475">
                  <c:v>45691</c:v>
                </c:pt>
                <c:pt idx="1476">
                  <c:v>45692</c:v>
                </c:pt>
                <c:pt idx="1477">
                  <c:v>45693</c:v>
                </c:pt>
                <c:pt idx="1478">
                  <c:v>45694</c:v>
                </c:pt>
                <c:pt idx="1479">
                  <c:v>45695</c:v>
                </c:pt>
                <c:pt idx="1480">
                  <c:v>45698</c:v>
                </c:pt>
                <c:pt idx="1481">
                  <c:v>45699</c:v>
                </c:pt>
                <c:pt idx="1482">
                  <c:v>45700</c:v>
                </c:pt>
                <c:pt idx="1483">
                  <c:v>45701</c:v>
                </c:pt>
                <c:pt idx="1484">
                  <c:v>45702</c:v>
                </c:pt>
                <c:pt idx="1485">
                  <c:v>45705</c:v>
                </c:pt>
                <c:pt idx="1486">
                  <c:v>45706</c:v>
                </c:pt>
                <c:pt idx="1487">
                  <c:v>45707</c:v>
                </c:pt>
                <c:pt idx="1488">
                  <c:v>45708</c:v>
                </c:pt>
                <c:pt idx="1489">
                  <c:v>45709</c:v>
                </c:pt>
                <c:pt idx="1490">
                  <c:v>45712</c:v>
                </c:pt>
                <c:pt idx="1491">
                  <c:v>45713</c:v>
                </c:pt>
                <c:pt idx="1492">
                  <c:v>45714</c:v>
                </c:pt>
                <c:pt idx="1493">
                  <c:v>45715</c:v>
                </c:pt>
                <c:pt idx="1494">
                  <c:v>45716</c:v>
                </c:pt>
                <c:pt idx="1495">
                  <c:v>45719</c:v>
                </c:pt>
                <c:pt idx="1496">
                  <c:v>45720</c:v>
                </c:pt>
                <c:pt idx="1497">
                  <c:v>45721</c:v>
                </c:pt>
                <c:pt idx="1498">
                  <c:v>45722</c:v>
                </c:pt>
                <c:pt idx="1499">
                  <c:v>45723</c:v>
                </c:pt>
                <c:pt idx="1500">
                  <c:v>45727</c:v>
                </c:pt>
                <c:pt idx="1501">
                  <c:v>45728</c:v>
                </c:pt>
                <c:pt idx="1502">
                  <c:v>45729</c:v>
                </c:pt>
                <c:pt idx="1503">
                  <c:v>45730</c:v>
                </c:pt>
                <c:pt idx="1504">
                  <c:v>45733</c:v>
                </c:pt>
                <c:pt idx="1505">
                  <c:v>45734</c:v>
                </c:pt>
                <c:pt idx="1506">
                  <c:v>45735</c:v>
                </c:pt>
                <c:pt idx="1507">
                  <c:v>45736</c:v>
                </c:pt>
                <c:pt idx="1508">
                  <c:v>45742</c:v>
                </c:pt>
                <c:pt idx="1509">
                  <c:v>45743</c:v>
                </c:pt>
                <c:pt idx="1510">
                  <c:v>45744</c:v>
                </c:pt>
                <c:pt idx="1511">
                  <c:v>45747</c:v>
                </c:pt>
                <c:pt idx="1512">
                  <c:v>45748</c:v>
                </c:pt>
                <c:pt idx="1513">
                  <c:v>45749</c:v>
                </c:pt>
                <c:pt idx="1514">
                  <c:v>45750</c:v>
                </c:pt>
                <c:pt idx="1515">
                  <c:v>45751</c:v>
                </c:pt>
                <c:pt idx="1516">
                  <c:v>45754</c:v>
                </c:pt>
                <c:pt idx="1517">
                  <c:v>45755</c:v>
                </c:pt>
                <c:pt idx="1518">
                  <c:v>45756</c:v>
                </c:pt>
                <c:pt idx="1519">
                  <c:v>45757</c:v>
                </c:pt>
                <c:pt idx="1520">
                  <c:v>45758</c:v>
                </c:pt>
                <c:pt idx="1521">
                  <c:v>45761</c:v>
                </c:pt>
                <c:pt idx="1522">
                  <c:v>45762</c:v>
                </c:pt>
                <c:pt idx="1523">
                  <c:v>45763</c:v>
                </c:pt>
                <c:pt idx="1524">
                  <c:v>45764</c:v>
                </c:pt>
                <c:pt idx="1525">
                  <c:v>45765</c:v>
                </c:pt>
                <c:pt idx="1526">
                  <c:v>45768</c:v>
                </c:pt>
                <c:pt idx="1527">
                  <c:v>45769</c:v>
                </c:pt>
                <c:pt idx="1528">
                  <c:v>45770</c:v>
                </c:pt>
                <c:pt idx="1529">
                  <c:v>45771</c:v>
                </c:pt>
                <c:pt idx="1530">
                  <c:v>45772</c:v>
                </c:pt>
                <c:pt idx="1531">
                  <c:v>45775</c:v>
                </c:pt>
                <c:pt idx="1532">
                  <c:v>45776</c:v>
                </c:pt>
                <c:pt idx="1533">
                  <c:v>45777</c:v>
                </c:pt>
                <c:pt idx="1534">
                  <c:v>45779</c:v>
                </c:pt>
                <c:pt idx="1535">
                  <c:v>45782</c:v>
                </c:pt>
                <c:pt idx="1536">
                  <c:v>45783</c:v>
                </c:pt>
                <c:pt idx="1537">
                  <c:v>45785</c:v>
                </c:pt>
                <c:pt idx="1538">
                  <c:v>45789</c:v>
                </c:pt>
                <c:pt idx="1539">
                  <c:v>45790</c:v>
                </c:pt>
                <c:pt idx="1540">
                  <c:v>45791</c:v>
                </c:pt>
                <c:pt idx="1541">
                  <c:v>45792</c:v>
                </c:pt>
                <c:pt idx="1542">
                  <c:v>45793</c:v>
                </c:pt>
                <c:pt idx="1543">
                  <c:v>45796</c:v>
                </c:pt>
                <c:pt idx="1544">
                  <c:v>45797</c:v>
                </c:pt>
                <c:pt idx="1545">
                  <c:v>45798</c:v>
                </c:pt>
                <c:pt idx="1546">
                  <c:v>45799</c:v>
                </c:pt>
                <c:pt idx="1547">
                  <c:v>45800</c:v>
                </c:pt>
                <c:pt idx="1548">
                  <c:v>45803</c:v>
                </c:pt>
                <c:pt idx="1549">
                  <c:v>45804</c:v>
                </c:pt>
                <c:pt idx="1550">
                  <c:v>45805</c:v>
                </c:pt>
                <c:pt idx="1551">
                  <c:v>45806</c:v>
                </c:pt>
                <c:pt idx="1552">
                  <c:v>45807</c:v>
                </c:pt>
                <c:pt idx="1553">
                  <c:v>45810</c:v>
                </c:pt>
                <c:pt idx="1554">
                  <c:v>45811</c:v>
                </c:pt>
                <c:pt idx="1555">
                  <c:v>45812</c:v>
                </c:pt>
                <c:pt idx="1556">
                  <c:v>45813</c:v>
                </c:pt>
                <c:pt idx="1557">
                  <c:v>45817</c:v>
                </c:pt>
                <c:pt idx="1558">
                  <c:v>45818</c:v>
                </c:pt>
                <c:pt idx="1559">
                  <c:v>45819</c:v>
                </c:pt>
                <c:pt idx="1560">
                  <c:v>45820</c:v>
                </c:pt>
                <c:pt idx="1561">
                  <c:v>45821</c:v>
                </c:pt>
                <c:pt idx="1562">
                  <c:v>45824</c:v>
                </c:pt>
                <c:pt idx="1563">
                  <c:v>45825</c:v>
                </c:pt>
                <c:pt idx="1564">
                  <c:v>45826</c:v>
                </c:pt>
                <c:pt idx="1565">
                  <c:v>45827</c:v>
                </c:pt>
                <c:pt idx="1566">
                  <c:v>45828</c:v>
                </c:pt>
                <c:pt idx="1567">
                  <c:v>45831</c:v>
                </c:pt>
                <c:pt idx="1568">
                  <c:v>45832</c:v>
                </c:pt>
                <c:pt idx="1569">
                  <c:v>45833</c:v>
                </c:pt>
                <c:pt idx="1570">
                  <c:v>45834</c:v>
                </c:pt>
                <c:pt idx="1571">
                  <c:v>45835</c:v>
                </c:pt>
                <c:pt idx="1572">
                  <c:v>45838</c:v>
                </c:pt>
              </c:numCache>
            </c:numRef>
          </c:cat>
          <c:val>
            <c:numRef>
              <c:f>Sheet1!$F$18:$BHR$18</c:f>
              <c:numCache>
                <c:formatCode>_(* #\ ##0_);_(* \(#\ ##0\);_(* "-"??_);_(@_)</c:formatCode>
                <c:ptCount val="1573"/>
                <c:pt idx="0">
                  <c:v>3316.3585120000002</c:v>
                </c:pt>
                <c:pt idx="1">
                  <c:v>3271.1935616000001</c:v>
                </c:pt>
                <c:pt idx="2">
                  <c:v>3157.1088783999999</c:v>
                </c:pt>
                <c:pt idx="3">
                  <c:v>3146.5607072000003</c:v>
                </c:pt>
                <c:pt idx="4">
                  <c:v>3117.9532992000004</c:v>
                </c:pt>
                <c:pt idx="5">
                  <c:v>3098.3482768000003</c:v>
                </c:pt>
                <c:pt idx="6">
                  <c:v>3139.7551008</c:v>
                </c:pt>
                <c:pt idx="7">
                  <c:v>3190.8256784</c:v>
                </c:pt>
                <c:pt idx="8">
                  <c:v>3144.8748672000002</c:v>
                </c:pt>
                <c:pt idx="9">
                  <c:v>3192.6152624000001</c:v>
                </c:pt>
                <c:pt idx="10">
                  <c:v>3131.5956352000003</c:v>
                </c:pt>
                <c:pt idx="11">
                  <c:v>3162.9263231999998</c:v>
                </c:pt>
                <c:pt idx="12">
                  <c:v>3175.8087344</c:v>
                </c:pt>
                <c:pt idx="13">
                  <c:v>3293.4829599999998</c:v>
                </c:pt>
                <c:pt idx="14">
                  <c:v>3212.9516800000001</c:v>
                </c:pt>
                <c:pt idx="15">
                  <c:v>3365.5435424000002</c:v>
                </c:pt>
                <c:pt idx="16">
                  <c:v>3377.9046399999997</c:v>
                </c:pt>
                <c:pt idx="17">
                  <c:v>3445.7817456000002</c:v>
                </c:pt>
                <c:pt idx="18">
                  <c:v>3453.6066368000002</c:v>
                </c:pt>
                <c:pt idx="19">
                  <c:v>3448.4713088000003</c:v>
                </c:pt>
                <c:pt idx="20">
                  <c:v>3425.6294736</c:v>
                </c:pt>
                <c:pt idx="21">
                  <c:v>3433.7033504000005</c:v>
                </c:pt>
                <c:pt idx="22">
                  <c:v>3461.5326783999999</c:v>
                </c:pt>
                <c:pt idx="23">
                  <c:v>3502.0265552000001</c:v>
                </c:pt>
                <c:pt idx="24">
                  <c:v>3520.4229599999999</c:v>
                </c:pt>
                <c:pt idx="25">
                  <c:v>3519.4114559999998</c:v>
                </c:pt>
                <c:pt idx="26">
                  <c:v>3523.172176</c:v>
                </c:pt>
                <c:pt idx="27">
                  <c:v>3480.1365712000002</c:v>
                </c:pt>
                <c:pt idx="28">
                  <c:v>3431.9786064000004</c:v>
                </c:pt>
                <c:pt idx="29">
                  <c:v>3404.9247648000005</c:v>
                </c:pt>
                <c:pt idx="30">
                  <c:v>3449.8225744000001</c:v>
                </c:pt>
                <c:pt idx="31">
                  <c:v>3493.9578656000003</c:v>
                </c:pt>
                <c:pt idx="32">
                  <c:v>3566.6071951999998</c:v>
                </c:pt>
                <c:pt idx="33">
                  <c:v>3537.3228576000001</c:v>
                </c:pt>
                <c:pt idx="34">
                  <c:v>3553.634008</c:v>
                </c:pt>
                <c:pt idx="35">
                  <c:v>3539.7634352000005</c:v>
                </c:pt>
                <c:pt idx="36">
                  <c:v>3488.7810399999998</c:v>
                </c:pt>
                <c:pt idx="37">
                  <c:v>3487.7358192000002</c:v>
                </c:pt>
                <c:pt idx="38">
                  <c:v>3500.1358208000001</c:v>
                </c:pt>
                <c:pt idx="39">
                  <c:v>3450.9066992000003</c:v>
                </c:pt>
                <c:pt idx="40">
                  <c:v>3443.4656608000005</c:v>
                </c:pt>
                <c:pt idx="41">
                  <c:v>3451.0130368</c:v>
                </c:pt>
                <c:pt idx="42">
                  <c:v>3420.0117359999999</c:v>
                </c:pt>
                <c:pt idx="43">
                  <c:v>3405.0518511999999</c:v>
                </c:pt>
                <c:pt idx="44">
                  <c:v>3373.715976</c:v>
                </c:pt>
                <c:pt idx="45">
                  <c:v>3416.5907775999999</c:v>
                </c:pt>
                <c:pt idx="46">
                  <c:v>3403.4593808</c:v>
                </c:pt>
                <c:pt idx="47">
                  <c:v>3405.0881616000001</c:v>
                </c:pt>
                <c:pt idx="48">
                  <c:v>3395.2636048000004</c:v>
                </c:pt>
                <c:pt idx="49">
                  <c:v>3448.1082048000003</c:v>
                </c:pt>
                <c:pt idx="50">
                  <c:v>3468.8699728000001</c:v>
                </c:pt>
                <c:pt idx="51">
                  <c:v>3504.1221840000003</c:v>
                </c:pt>
                <c:pt idx="52">
                  <c:v>3508.4898064000004</c:v>
                </c:pt>
                <c:pt idx="53">
                  <c:v>3484.6572160000005</c:v>
                </c:pt>
                <c:pt idx="54">
                  <c:v>3488.9937152000002</c:v>
                </c:pt>
                <c:pt idx="55">
                  <c:v>3491.0400656000002</c:v>
                </c:pt>
                <c:pt idx="56">
                  <c:v>3525.5712560000002</c:v>
                </c:pt>
                <c:pt idx="57">
                  <c:v>3552.5446960000004</c:v>
                </c:pt>
                <c:pt idx="58">
                  <c:v>3499.2099056000002</c:v>
                </c:pt>
                <c:pt idx="59">
                  <c:v>3531.4431664000003</c:v>
                </c:pt>
                <c:pt idx="60">
                  <c:v>3537.54072</c:v>
                </c:pt>
                <c:pt idx="61">
                  <c:v>3529.2671359999999</c:v>
                </c:pt>
                <c:pt idx="62">
                  <c:v>3516.7815456000003</c:v>
                </c:pt>
                <c:pt idx="63">
                  <c:v>3477.2291456000003</c:v>
                </c:pt>
                <c:pt idx="64">
                  <c:v>3554.1994128000001</c:v>
                </c:pt>
                <c:pt idx="65">
                  <c:v>3584.22552</c:v>
                </c:pt>
                <c:pt idx="66">
                  <c:v>3552.6406592000003</c:v>
                </c:pt>
                <c:pt idx="67">
                  <c:v>3595.8111312000001</c:v>
                </c:pt>
                <c:pt idx="68">
                  <c:v>3589.2311680000003</c:v>
                </c:pt>
                <c:pt idx="69">
                  <c:v>3632.8684880000001</c:v>
                </c:pt>
                <c:pt idx="70">
                  <c:v>3467.8947792000004</c:v>
                </c:pt>
                <c:pt idx="71">
                  <c:v>3661.8779040000004</c:v>
                </c:pt>
                <c:pt idx="72">
                  <c:v>3705.3388592000001</c:v>
                </c:pt>
                <c:pt idx="73">
                  <c:v>3769.4682128000004</c:v>
                </c:pt>
                <c:pt idx="74">
                  <c:v>3662.2695376000001</c:v>
                </c:pt>
                <c:pt idx="75">
                  <c:v>3645.7327439999999</c:v>
                </c:pt>
                <c:pt idx="76">
                  <c:v>3639.8634272000004</c:v>
                </c:pt>
                <c:pt idx="77">
                  <c:v>3682.1027968000003</c:v>
                </c:pt>
                <c:pt idx="78">
                  <c:v>3645.1258416000001</c:v>
                </c:pt>
                <c:pt idx="79">
                  <c:v>3627.1962848000003</c:v>
                </c:pt>
                <c:pt idx="80">
                  <c:v>3681.4829264</c:v>
                </c:pt>
                <c:pt idx="81">
                  <c:v>3651.8899504000001</c:v>
                </c:pt>
                <c:pt idx="82">
                  <c:v>3561.3759040000004</c:v>
                </c:pt>
                <c:pt idx="83">
                  <c:v>3569.6468944000003</c:v>
                </c:pt>
                <c:pt idx="84">
                  <c:v>3556.6244288000003</c:v>
                </c:pt>
                <c:pt idx="85">
                  <c:v>3529.1919216000001</c:v>
                </c:pt>
                <c:pt idx="86">
                  <c:v>3525.6386896000004</c:v>
                </c:pt>
                <c:pt idx="87">
                  <c:v>3464.2767072000001</c:v>
                </c:pt>
                <c:pt idx="88">
                  <c:v>3497.6641199999999</c:v>
                </c:pt>
                <c:pt idx="89">
                  <c:v>3565.0977200000002</c:v>
                </c:pt>
                <c:pt idx="90">
                  <c:v>3541.6152656000004</c:v>
                </c:pt>
                <c:pt idx="91">
                  <c:v>3515.6585168000001</c:v>
                </c:pt>
                <c:pt idx="92">
                  <c:v>3525.0240064000004</c:v>
                </c:pt>
                <c:pt idx="93">
                  <c:v>3562.1877008000001</c:v>
                </c:pt>
                <c:pt idx="94">
                  <c:v>3614.3916816000001</c:v>
                </c:pt>
                <c:pt idx="95">
                  <c:v>3660.1427856</c:v>
                </c:pt>
                <c:pt idx="96">
                  <c:v>3655.2720048000001</c:v>
                </c:pt>
                <c:pt idx="97">
                  <c:v>3670.1877984000002</c:v>
                </c:pt>
                <c:pt idx="98">
                  <c:v>3644.7471759999999</c:v>
                </c:pt>
                <c:pt idx="99">
                  <c:v>3647.5171408000001</c:v>
                </c:pt>
                <c:pt idx="100">
                  <c:v>3643.9068496</c:v>
                </c:pt>
                <c:pt idx="101">
                  <c:v>3651.9936944000001</c:v>
                </c:pt>
                <c:pt idx="102">
                  <c:v>3659.9352976</c:v>
                </c:pt>
                <c:pt idx="103">
                  <c:v>3629.9040032000003</c:v>
                </c:pt>
                <c:pt idx="104">
                  <c:v>3617.9397264000004</c:v>
                </c:pt>
                <c:pt idx="105">
                  <c:v>3557.3065455999999</c:v>
                </c:pt>
                <c:pt idx="106">
                  <c:v>8360.3509240000003</c:v>
                </c:pt>
                <c:pt idx="107">
                  <c:v>8360.4287320000003</c:v>
                </c:pt>
                <c:pt idx="108">
                  <c:v>8386.2143032000004</c:v>
                </c:pt>
                <c:pt idx="109">
                  <c:v>8531.6426424000001</c:v>
                </c:pt>
                <c:pt idx="110">
                  <c:v>8572.9509096000002</c:v>
                </c:pt>
                <c:pt idx="111">
                  <c:v>8646.8347928000003</c:v>
                </c:pt>
                <c:pt idx="112">
                  <c:v>8584.4976167999994</c:v>
                </c:pt>
                <c:pt idx="113">
                  <c:v>8550.7782232000009</c:v>
                </c:pt>
                <c:pt idx="114">
                  <c:v>8632.7307959999998</c:v>
                </c:pt>
                <c:pt idx="115">
                  <c:v>8623.7854695999995</c:v>
                </c:pt>
                <c:pt idx="116">
                  <c:v>8640.4519432000016</c:v>
                </c:pt>
                <c:pt idx="117">
                  <c:v>8655.0435367999999</c:v>
                </c:pt>
                <c:pt idx="118">
                  <c:v>8634.4218232000003</c:v>
                </c:pt>
                <c:pt idx="119">
                  <c:v>8621.5549735999994</c:v>
                </c:pt>
                <c:pt idx="120">
                  <c:v>8619.6590520000009</c:v>
                </c:pt>
                <c:pt idx="121">
                  <c:v>8602.5386983999997</c:v>
                </c:pt>
                <c:pt idx="122">
                  <c:v>8590.6055448000006</c:v>
                </c:pt>
                <c:pt idx="123">
                  <c:v>8601.6231576000009</c:v>
                </c:pt>
                <c:pt idx="124">
                  <c:v>8611.2220711999998</c:v>
                </c:pt>
                <c:pt idx="125">
                  <c:v>8526.8548568000006</c:v>
                </c:pt>
                <c:pt idx="126">
                  <c:v>8465.9285992000005</c:v>
                </c:pt>
                <c:pt idx="127">
                  <c:v>8481.044100000001</c:v>
                </c:pt>
                <c:pt idx="128">
                  <c:v>8477.8643464000015</c:v>
                </c:pt>
                <c:pt idx="129">
                  <c:v>8510.1027944000016</c:v>
                </c:pt>
                <c:pt idx="130">
                  <c:v>8783.8465991999983</c:v>
                </c:pt>
                <c:pt idx="131">
                  <c:v>8754.5000151999993</c:v>
                </c:pt>
                <c:pt idx="132">
                  <c:v>8782.949213599999</c:v>
                </c:pt>
                <c:pt idx="133">
                  <c:v>8621.6739783999983</c:v>
                </c:pt>
                <c:pt idx="134">
                  <c:v>8475.6231751999985</c:v>
                </c:pt>
                <c:pt idx="135">
                  <c:v>8538.5532039999998</c:v>
                </c:pt>
                <c:pt idx="136">
                  <c:v>8585.5725784000006</c:v>
                </c:pt>
                <c:pt idx="137">
                  <c:v>8477.0314048</c:v>
                </c:pt>
                <c:pt idx="138">
                  <c:v>8633.7214104000013</c:v>
                </c:pt>
                <c:pt idx="139">
                  <c:v>8665.1723903999991</c:v>
                </c:pt>
                <c:pt idx="140">
                  <c:v>8695.0256024000009</c:v>
                </c:pt>
                <c:pt idx="141">
                  <c:v>8721.3065511999994</c:v>
                </c:pt>
                <c:pt idx="142">
                  <c:v>8787.3681367999998</c:v>
                </c:pt>
                <c:pt idx="143">
                  <c:v>8802.1464696000003</c:v>
                </c:pt>
                <c:pt idx="144">
                  <c:v>8900.7914520000013</c:v>
                </c:pt>
                <c:pt idx="145">
                  <c:v>8958.576860000001</c:v>
                </c:pt>
                <c:pt idx="146">
                  <c:v>9030.2847127999994</c:v>
                </c:pt>
                <c:pt idx="147">
                  <c:v>9447.9081920000008</c:v>
                </c:pt>
                <c:pt idx="148">
                  <c:v>9465.5394847999996</c:v>
                </c:pt>
                <c:pt idx="149">
                  <c:v>9460.9903104000005</c:v>
                </c:pt>
                <c:pt idx="150">
                  <c:v>9437.5675088000007</c:v>
                </c:pt>
                <c:pt idx="151">
                  <c:v>9456.8976096000006</c:v>
                </c:pt>
                <c:pt idx="152">
                  <c:v>9451.7545007999997</c:v>
                </c:pt>
                <c:pt idx="153">
                  <c:v>9541.9728768000004</c:v>
                </c:pt>
                <c:pt idx="154">
                  <c:v>9619.0831983999997</c:v>
                </c:pt>
                <c:pt idx="155">
                  <c:v>9614.3317232000009</c:v>
                </c:pt>
                <c:pt idx="156">
                  <c:v>9609.8110784</c:v>
                </c:pt>
                <c:pt idx="157">
                  <c:v>9589.0363424000006</c:v>
                </c:pt>
                <c:pt idx="158">
                  <c:v>9601.4006544000003</c:v>
                </c:pt>
                <c:pt idx="159">
                  <c:v>9613.8551215999996</c:v>
                </c:pt>
                <c:pt idx="160">
                  <c:v>9614.8666255999997</c:v>
                </c:pt>
                <c:pt idx="161">
                  <c:v>9635.5402112000011</c:v>
                </c:pt>
                <c:pt idx="162">
                  <c:v>9659.0563824000001</c:v>
                </c:pt>
                <c:pt idx="163">
                  <c:v>9669.1584543999998</c:v>
                </c:pt>
                <c:pt idx="164">
                  <c:v>9691.1164927999998</c:v>
                </c:pt>
                <c:pt idx="165">
                  <c:v>9703.9600000000009</c:v>
                </c:pt>
                <c:pt idx="166">
                  <c:v>9698.7676128000003</c:v>
                </c:pt>
                <c:pt idx="167">
                  <c:v>9691.3447295999995</c:v>
                </c:pt>
                <c:pt idx="168">
                  <c:v>9713.7793696000008</c:v>
                </c:pt>
                <c:pt idx="169">
                  <c:v>9704.3049487999997</c:v>
                </c:pt>
                <c:pt idx="170">
                  <c:v>9668.7311312000002</c:v>
                </c:pt>
                <c:pt idx="171">
                  <c:v>9691.9931295999995</c:v>
                </c:pt>
                <c:pt idx="172">
                  <c:v>9659.1697848000003</c:v>
                </c:pt>
                <c:pt idx="173">
                  <c:v>9635.6977048000008</c:v>
                </c:pt>
                <c:pt idx="174">
                  <c:v>9685.5770088000008</c:v>
                </c:pt>
                <c:pt idx="175">
                  <c:v>9808.3300287999991</c:v>
                </c:pt>
                <c:pt idx="176">
                  <c:v>9976.9826088000009</c:v>
                </c:pt>
                <c:pt idx="177">
                  <c:v>9949.8561464000013</c:v>
                </c:pt>
                <c:pt idx="178">
                  <c:v>9945.1383880000012</c:v>
                </c:pt>
                <c:pt idx="179">
                  <c:v>9965.7692191999995</c:v>
                </c:pt>
                <c:pt idx="180">
                  <c:v>10010.495851200001</c:v>
                </c:pt>
                <c:pt idx="181">
                  <c:v>9941.8614144000003</c:v>
                </c:pt>
                <c:pt idx="182">
                  <c:v>10024.117964000001</c:v>
                </c:pt>
                <c:pt idx="183">
                  <c:v>10057.634516</c:v>
                </c:pt>
                <c:pt idx="184">
                  <c:v>10070.7399768</c:v>
                </c:pt>
                <c:pt idx="185">
                  <c:v>10117.4507128</c:v>
                </c:pt>
                <c:pt idx="186">
                  <c:v>10086.462379999999</c:v>
                </c:pt>
                <c:pt idx="187">
                  <c:v>10087.8473624</c:v>
                </c:pt>
                <c:pt idx="188">
                  <c:v>10112.709611999999</c:v>
                </c:pt>
                <c:pt idx="189">
                  <c:v>10131.9489368</c:v>
                </c:pt>
                <c:pt idx="190">
                  <c:v>10576.2716504</c:v>
                </c:pt>
                <c:pt idx="191">
                  <c:v>10475.863480800001</c:v>
                </c:pt>
                <c:pt idx="192">
                  <c:v>10464.1526608</c:v>
                </c:pt>
                <c:pt idx="193">
                  <c:v>10469.741868800002</c:v>
                </c:pt>
                <c:pt idx="194">
                  <c:v>10453.547430400002</c:v>
                </c:pt>
                <c:pt idx="195">
                  <c:v>10465.4081384</c:v>
                </c:pt>
                <c:pt idx="196">
                  <c:v>10539.564700000001</c:v>
                </c:pt>
                <c:pt idx="197">
                  <c:v>10441.2292624</c:v>
                </c:pt>
                <c:pt idx="198">
                  <c:v>10462.3152304</c:v>
                </c:pt>
                <c:pt idx="199">
                  <c:v>10481.3086088</c:v>
                </c:pt>
                <c:pt idx="200">
                  <c:v>10481.3086088</c:v>
                </c:pt>
                <c:pt idx="201">
                  <c:v>10571.2533048</c:v>
                </c:pt>
                <c:pt idx="202">
                  <c:v>10562.240544800001</c:v>
                </c:pt>
                <c:pt idx="203">
                  <c:v>10328.214464000001</c:v>
                </c:pt>
                <c:pt idx="204">
                  <c:v>10356.8452144</c:v>
                </c:pt>
                <c:pt idx="205">
                  <c:v>10249.874075199999</c:v>
                </c:pt>
                <c:pt idx="206">
                  <c:v>10210.083064</c:v>
                </c:pt>
                <c:pt idx="207">
                  <c:v>10024.8150864</c:v>
                </c:pt>
                <c:pt idx="208">
                  <c:v>10086.8005992</c:v>
                </c:pt>
                <c:pt idx="209">
                  <c:v>10060.413312799999</c:v>
                </c:pt>
                <c:pt idx="210">
                  <c:v>10022.7386792</c:v>
                </c:pt>
                <c:pt idx="211">
                  <c:v>13823.389470420001</c:v>
                </c:pt>
                <c:pt idx="212">
                  <c:v>13775.557508060001</c:v>
                </c:pt>
                <c:pt idx="213">
                  <c:v>14021.082749840001</c:v>
                </c:pt>
                <c:pt idx="214">
                  <c:v>14014.97579366</c:v>
                </c:pt>
                <c:pt idx="215">
                  <c:v>14008.108705840001</c:v>
                </c:pt>
                <c:pt idx="216">
                  <c:v>14054.746426500002</c:v>
                </c:pt>
                <c:pt idx="217">
                  <c:v>14000.83895302</c:v>
                </c:pt>
                <c:pt idx="218">
                  <c:v>14008.796256539999</c:v>
                </c:pt>
                <c:pt idx="219">
                  <c:v>14269.630496239999</c:v>
                </c:pt>
                <c:pt idx="220">
                  <c:v>14302.4539408</c:v>
                </c:pt>
                <c:pt idx="221">
                  <c:v>14267.424168699999</c:v>
                </c:pt>
                <c:pt idx="222">
                  <c:v>14317.637093239999</c:v>
                </c:pt>
                <c:pt idx="223">
                  <c:v>14251.63162824</c:v>
                </c:pt>
                <c:pt idx="224">
                  <c:v>14267.687096199999</c:v>
                </c:pt>
                <c:pt idx="225">
                  <c:v>14571.139368400001</c:v>
                </c:pt>
                <c:pt idx="226">
                  <c:v>14658.210656739999</c:v>
                </c:pt>
                <c:pt idx="227">
                  <c:v>14671.39679776</c:v>
                </c:pt>
                <c:pt idx="228">
                  <c:v>14681.779952460001</c:v>
                </c:pt>
                <c:pt idx="229">
                  <c:v>14699.23354732</c:v>
                </c:pt>
                <c:pt idx="230">
                  <c:v>14858.1010281</c:v>
                </c:pt>
                <c:pt idx="231">
                  <c:v>14549.801113140002</c:v>
                </c:pt>
                <c:pt idx="232">
                  <c:v>14585.776361460001</c:v>
                </c:pt>
                <c:pt idx="233">
                  <c:v>14437.197549780001</c:v>
                </c:pt>
                <c:pt idx="234">
                  <c:v>14231.830295100001</c:v>
                </c:pt>
                <c:pt idx="235">
                  <c:v>14201.982895040001</c:v>
                </c:pt>
                <c:pt idx="236">
                  <c:v>14237.4869014</c:v>
                </c:pt>
                <c:pt idx="237">
                  <c:v>14410.438813000001</c:v>
                </c:pt>
                <c:pt idx="238">
                  <c:v>14399.814455579999</c:v>
                </c:pt>
                <c:pt idx="239">
                  <c:v>14371.02254066</c:v>
                </c:pt>
                <c:pt idx="240">
                  <c:v>14151.87300062</c:v>
                </c:pt>
                <c:pt idx="241">
                  <c:v>14119.287186040001</c:v>
                </c:pt>
                <c:pt idx="242">
                  <c:v>14253.85877398</c:v>
                </c:pt>
                <c:pt idx="243">
                  <c:v>14250.261162139999</c:v>
                </c:pt>
                <c:pt idx="244">
                  <c:v>14242.628951120001</c:v>
                </c:pt>
                <c:pt idx="245">
                  <c:v>15208.05378274</c:v>
                </c:pt>
                <c:pt idx="246">
                  <c:v>14597.090199800001</c:v>
                </c:pt>
                <c:pt idx="247">
                  <c:v>14641.52364702</c:v>
                </c:pt>
                <c:pt idx="248">
                  <c:v>14573.4657432</c:v>
                </c:pt>
                <c:pt idx="249">
                  <c:v>14584.989826479999</c:v>
                </c:pt>
                <c:pt idx="250">
                  <c:v>14555.126324919998</c:v>
                </c:pt>
                <c:pt idx="251">
                  <c:v>14596.22462632</c:v>
                </c:pt>
                <c:pt idx="252">
                  <c:v>14623.10988392</c:v>
                </c:pt>
                <c:pt idx="253">
                  <c:v>14468.409538779999</c:v>
                </c:pt>
                <c:pt idx="254">
                  <c:v>14532.087896699999</c:v>
                </c:pt>
                <c:pt idx="255">
                  <c:v>14412.41636818</c:v>
                </c:pt>
                <c:pt idx="256">
                  <c:v>14394.031765220001</c:v>
                </c:pt>
                <c:pt idx="257">
                  <c:v>14417.012400600001</c:v>
                </c:pt>
                <c:pt idx="258">
                  <c:v>14491.007320639999</c:v>
                </c:pt>
                <c:pt idx="259">
                  <c:v>14477.81302956</c:v>
                </c:pt>
                <c:pt idx="260">
                  <c:v>14485.88987556</c:v>
                </c:pt>
                <c:pt idx="261">
                  <c:v>14733.917671019999</c:v>
                </c:pt>
                <c:pt idx="262">
                  <c:v>14931.676670839999</c:v>
                </c:pt>
                <c:pt idx="263">
                  <c:v>15184.807958900001</c:v>
                </c:pt>
                <c:pt idx="264">
                  <c:v>15237.347584259998</c:v>
                </c:pt>
                <c:pt idx="265">
                  <c:v>14949.166743279999</c:v>
                </c:pt>
                <c:pt idx="266">
                  <c:v>14936.818682199999</c:v>
                </c:pt>
                <c:pt idx="267">
                  <c:v>15224.65301914</c:v>
                </c:pt>
                <c:pt idx="268">
                  <c:v>15164.188490859999</c:v>
                </c:pt>
                <c:pt idx="269">
                  <c:v>15361.693371519999</c:v>
                </c:pt>
                <c:pt idx="270">
                  <c:v>15426.231493400002</c:v>
                </c:pt>
                <c:pt idx="271">
                  <c:v>15441.359746239999</c:v>
                </c:pt>
                <c:pt idx="272">
                  <c:v>15337.939728200001</c:v>
                </c:pt>
                <c:pt idx="273">
                  <c:v>15320.670422220002</c:v>
                </c:pt>
                <c:pt idx="274">
                  <c:v>15570.89034958</c:v>
                </c:pt>
                <c:pt idx="275">
                  <c:v>15508.252673139999</c:v>
                </c:pt>
                <c:pt idx="276">
                  <c:v>15096.03391068</c:v>
                </c:pt>
                <c:pt idx="277">
                  <c:v>15067.740185000001</c:v>
                </c:pt>
                <c:pt idx="278">
                  <c:v>15195.619146680001</c:v>
                </c:pt>
                <c:pt idx="279">
                  <c:v>15209.478767799999</c:v>
                </c:pt>
                <c:pt idx="280">
                  <c:v>15386.967809039999</c:v>
                </c:pt>
                <c:pt idx="281">
                  <c:v>15490.181034539999</c:v>
                </c:pt>
                <c:pt idx="282">
                  <c:v>15341.497022200001</c:v>
                </c:pt>
                <c:pt idx="283">
                  <c:v>15466.605253</c:v>
                </c:pt>
                <c:pt idx="284">
                  <c:v>15324.401178940001</c:v>
                </c:pt>
                <c:pt idx="285">
                  <c:v>15388.11487336</c:v>
                </c:pt>
                <c:pt idx="286">
                  <c:v>15428.314755560001</c:v>
                </c:pt>
                <c:pt idx="287">
                  <c:v>15436.410500420003</c:v>
                </c:pt>
                <c:pt idx="288">
                  <c:v>15436.434960000002</c:v>
                </c:pt>
                <c:pt idx="289">
                  <c:v>15464.9297281</c:v>
                </c:pt>
                <c:pt idx="290">
                  <c:v>15446.41923188</c:v>
                </c:pt>
                <c:pt idx="291">
                  <c:v>15759.48778876</c:v>
                </c:pt>
                <c:pt idx="292">
                  <c:v>15729.13603836</c:v>
                </c:pt>
                <c:pt idx="293">
                  <c:v>15779.854789659999</c:v>
                </c:pt>
                <c:pt idx="294">
                  <c:v>16305.65416486</c:v>
                </c:pt>
                <c:pt idx="295">
                  <c:v>16495.08367584</c:v>
                </c:pt>
                <c:pt idx="296">
                  <c:v>16429.03333056</c:v>
                </c:pt>
                <c:pt idx="297">
                  <c:v>16312.969929880001</c:v>
                </c:pt>
                <c:pt idx="298">
                  <c:v>16202.429867260002</c:v>
                </c:pt>
                <c:pt idx="299">
                  <c:v>16158.049440360002</c:v>
                </c:pt>
                <c:pt idx="300">
                  <c:v>16110.26236036</c:v>
                </c:pt>
                <c:pt idx="301">
                  <c:v>16098.648034740001</c:v>
                </c:pt>
                <c:pt idx="302">
                  <c:v>15885.254885040002</c:v>
                </c:pt>
                <c:pt idx="303">
                  <c:v>15472.93387176</c:v>
                </c:pt>
                <c:pt idx="304">
                  <c:v>15453.832238499999</c:v>
                </c:pt>
                <c:pt idx="305">
                  <c:v>15366.474071659999</c:v>
                </c:pt>
                <c:pt idx="306">
                  <c:v>14501.05794542</c:v>
                </c:pt>
                <c:pt idx="307">
                  <c:v>15395.342404920002</c:v>
                </c:pt>
                <c:pt idx="308">
                  <c:v>15338.514716420003</c:v>
                </c:pt>
                <c:pt idx="309">
                  <c:v>14468.77065366</c:v>
                </c:pt>
                <c:pt idx="310">
                  <c:v>14006.507658459999</c:v>
                </c:pt>
                <c:pt idx="311">
                  <c:v>13099.091461580001</c:v>
                </c:pt>
                <c:pt idx="312">
                  <c:v>13138.310547640001</c:v>
                </c:pt>
                <c:pt idx="313">
                  <c:v>13039.58727546</c:v>
                </c:pt>
                <c:pt idx="314">
                  <c:v>12813.856297940001</c:v>
                </c:pt>
                <c:pt idx="315">
                  <c:v>13018.209021819999</c:v>
                </c:pt>
                <c:pt idx="316">
                  <c:v>12072.333380300002</c:v>
                </c:pt>
                <c:pt idx="317">
                  <c:v>13623.17799186</c:v>
                </c:pt>
                <c:pt idx="318">
                  <c:v>13843.059301540001</c:v>
                </c:pt>
                <c:pt idx="319">
                  <c:v>13691.96527554</c:v>
                </c:pt>
                <c:pt idx="320">
                  <c:v>13667.59042862</c:v>
                </c:pt>
                <c:pt idx="321">
                  <c:v>13513.32904986</c:v>
                </c:pt>
                <c:pt idx="322">
                  <c:v>13643.917958060001</c:v>
                </c:pt>
                <c:pt idx="323">
                  <c:v>13770.223763380001</c:v>
                </c:pt>
                <c:pt idx="324">
                  <c:v>13921.69115592</c:v>
                </c:pt>
                <c:pt idx="325">
                  <c:v>14503.311261380002</c:v>
                </c:pt>
                <c:pt idx="326">
                  <c:v>14535.128402020002</c:v>
                </c:pt>
                <c:pt idx="327">
                  <c:v>14666.539427580003</c:v>
                </c:pt>
                <c:pt idx="328">
                  <c:v>14679.319099820001</c:v>
                </c:pt>
                <c:pt idx="329">
                  <c:v>14628.446528720002</c:v>
                </c:pt>
                <c:pt idx="330">
                  <c:v>14558.537537880004</c:v>
                </c:pt>
                <c:pt idx="331">
                  <c:v>15131.13742314</c:v>
                </c:pt>
                <c:pt idx="332">
                  <c:v>15152.354422639997</c:v>
                </c:pt>
                <c:pt idx="333">
                  <c:v>15184.65957946</c:v>
                </c:pt>
                <c:pt idx="334">
                  <c:v>14964.217566939999</c:v>
                </c:pt>
                <c:pt idx="335">
                  <c:v>14956.511883759998</c:v>
                </c:pt>
                <c:pt idx="336">
                  <c:v>15135.77593408</c:v>
                </c:pt>
                <c:pt idx="337">
                  <c:v>15878.82369356</c:v>
                </c:pt>
                <c:pt idx="338">
                  <c:v>15860.61269482</c:v>
                </c:pt>
                <c:pt idx="339">
                  <c:v>15990.039275679999</c:v>
                </c:pt>
                <c:pt idx="340">
                  <c:v>15902.840180380001</c:v>
                </c:pt>
                <c:pt idx="341">
                  <c:v>15708.371339300002</c:v>
                </c:pt>
                <c:pt idx="342">
                  <c:v>15668.409098260001</c:v>
                </c:pt>
                <c:pt idx="343">
                  <c:v>16072.392861939999</c:v>
                </c:pt>
                <c:pt idx="344">
                  <c:v>16079.81174988</c:v>
                </c:pt>
                <c:pt idx="345">
                  <c:v>16097.6885501</c:v>
                </c:pt>
                <c:pt idx="346">
                  <c:v>16071.00559122</c:v>
                </c:pt>
                <c:pt idx="347">
                  <c:v>15962.671077000001</c:v>
                </c:pt>
                <c:pt idx="348">
                  <c:v>15635.951026539999</c:v>
                </c:pt>
                <c:pt idx="349">
                  <c:v>15890.721575180001</c:v>
                </c:pt>
                <c:pt idx="350">
                  <c:v>16049.418236520001</c:v>
                </c:pt>
                <c:pt idx="351">
                  <c:v>15931.280065899999</c:v>
                </c:pt>
                <c:pt idx="352">
                  <c:v>16122.576397659999</c:v>
                </c:pt>
                <c:pt idx="353">
                  <c:v>16046.230789359999</c:v>
                </c:pt>
                <c:pt idx="354">
                  <c:v>15849.720671700001</c:v>
                </c:pt>
                <c:pt idx="355">
                  <c:v>15951.381869700001</c:v>
                </c:pt>
                <c:pt idx="356">
                  <c:v>15940.848107620001</c:v>
                </c:pt>
                <c:pt idx="357">
                  <c:v>15939.060936559999</c:v>
                </c:pt>
                <c:pt idx="358">
                  <c:v>16202.827236720001</c:v>
                </c:pt>
                <c:pt idx="359">
                  <c:v>16549.353709760002</c:v>
                </c:pt>
                <c:pt idx="360">
                  <c:v>16545.62419604</c:v>
                </c:pt>
                <c:pt idx="361">
                  <c:v>16442.475573639997</c:v>
                </c:pt>
                <c:pt idx="362">
                  <c:v>16434.415852620001</c:v>
                </c:pt>
                <c:pt idx="363">
                  <c:v>16648.674878440001</c:v>
                </c:pt>
                <c:pt idx="364">
                  <c:v>16647.993054440001</c:v>
                </c:pt>
                <c:pt idx="365">
                  <c:v>16575.0787021</c:v>
                </c:pt>
                <c:pt idx="366">
                  <c:v>16537.285086839998</c:v>
                </c:pt>
                <c:pt idx="367">
                  <c:v>15851.89067504</c:v>
                </c:pt>
                <c:pt idx="368">
                  <c:v>15778.8108722</c:v>
                </c:pt>
                <c:pt idx="369">
                  <c:v>15695.127888500001</c:v>
                </c:pt>
                <c:pt idx="370">
                  <c:v>15759.036682279999</c:v>
                </c:pt>
                <c:pt idx="371">
                  <c:v>15445.63542196</c:v>
                </c:pt>
                <c:pt idx="372">
                  <c:v>15621.627403979999</c:v>
                </c:pt>
                <c:pt idx="373">
                  <c:v>15674.28733304</c:v>
                </c:pt>
                <c:pt idx="374">
                  <c:v>16066.712389380002</c:v>
                </c:pt>
                <c:pt idx="375">
                  <c:v>16343.485122160002</c:v>
                </c:pt>
                <c:pt idx="376">
                  <c:v>16326.24077828</c:v>
                </c:pt>
                <c:pt idx="377">
                  <c:v>16417.2745622</c:v>
                </c:pt>
                <c:pt idx="378">
                  <c:v>16464.278206820003</c:v>
                </c:pt>
                <c:pt idx="379">
                  <c:v>16435.164357400001</c:v>
                </c:pt>
                <c:pt idx="380">
                  <c:v>16256.73803364</c:v>
                </c:pt>
                <c:pt idx="381">
                  <c:v>16289.251949380001</c:v>
                </c:pt>
                <c:pt idx="382">
                  <c:v>16380.576417780001</c:v>
                </c:pt>
                <c:pt idx="383">
                  <c:v>16465.749753620003</c:v>
                </c:pt>
                <c:pt idx="384">
                  <c:v>16460.554369959998</c:v>
                </c:pt>
                <c:pt idx="385">
                  <c:v>16461.083499660002</c:v>
                </c:pt>
                <c:pt idx="386">
                  <c:v>16446.00751336</c:v>
                </c:pt>
                <c:pt idx="387">
                  <c:v>16311.591535340001</c:v>
                </c:pt>
                <c:pt idx="388">
                  <c:v>16356.5030792</c:v>
                </c:pt>
                <c:pt idx="389">
                  <c:v>16369.76696556</c:v>
                </c:pt>
                <c:pt idx="390">
                  <c:v>16410.055385240001</c:v>
                </c:pt>
                <c:pt idx="391">
                  <c:v>16363.278719039998</c:v>
                </c:pt>
                <c:pt idx="392">
                  <c:v>16367.080178700002</c:v>
                </c:pt>
                <c:pt idx="393">
                  <c:v>16297.747928479999</c:v>
                </c:pt>
                <c:pt idx="394">
                  <c:v>16374.19124222</c:v>
                </c:pt>
                <c:pt idx="395">
                  <c:v>16540.966566499999</c:v>
                </c:pt>
                <c:pt idx="396">
                  <c:v>17666.236140000001</c:v>
                </c:pt>
                <c:pt idx="397">
                  <c:v>17634.814781900001</c:v>
                </c:pt>
                <c:pt idx="398">
                  <c:v>18172.171777120002</c:v>
                </c:pt>
                <c:pt idx="399">
                  <c:v>18624.067190139998</c:v>
                </c:pt>
                <c:pt idx="400">
                  <c:v>18359.811312639999</c:v>
                </c:pt>
                <c:pt idx="401">
                  <c:v>18268.453474080001</c:v>
                </c:pt>
                <c:pt idx="402">
                  <c:v>18513.087980880002</c:v>
                </c:pt>
                <c:pt idx="403">
                  <c:v>18674.349329460001</c:v>
                </c:pt>
                <c:pt idx="404">
                  <c:v>18845.977604240001</c:v>
                </c:pt>
                <c:pt idx="405">
                  <c:v>18940.904175040003</c:v>
                </c:pt>
                <c:pt idx="406">
                  <c:v>18942.78158784</c:v>
                </c:pt>
                <c:pt idx="407">
                  <c:v>19370.686756940002</c:v>
                </c:pt>
                <c:pt idx="408">
                  <c:v>19147.583665620001</c:v>
                </c:pt>
                <c:pt idx="409">
                  <c:v>18768.817284899997</c:v>
                </c:pt>
                <c:pt idx="410">
                  <c:v>19060.435266640001</c:v>
                </c:pt>
                <c:pt idx="411">
                  <c:v>19031.381685260003</c:v>
                </c:pt>
                <c:pt idx="412">
                  <c:v>19051.91961674</c:v>
                </c:pt>
                <c:pt idx="413">
                  <c:v>18999.177919400001</c:v>
                </c:pt>
                <c:pt idx="414">
                  <c:v>19411.115010119996</c:v>
                </c:pt>
                <c:pt idx="415">
                  <c:v>19416.666553439998</c:v>
                </c:pt>
                <c:pt idx="416">
                  <c:v>19439.207932139998</c:v>
                </c:pt>
                <c:pt idx="417">
                  <c:v>19452.6908248</c:v>
                </c:pt>
                <c:pt idx="418">
                  <c:v>19438.391026419999</c:v>
                </c:pt>
                <c:pt idx="419">
                  <c:v>19399.455974679997</c:v>
                </c:pt>
                <c:pt idx="420">
                  <c:v>19507.871662879999</c:v>
                </c:pt>
                <c:pt idx="421">
                  <c:v>19355.254441520003</c:v>
                </c:pt>
                <c:pt idx="422">
                  <c:v>20226.683051799999</c:v>
                </c:pt>
                <c:pt idx="423">
                  <c:v>20180.695194379998</c:v>
                </c:pt>
                <c:pt idx="424">
                  <c:v>19654.182600240001</c:v>
                </c:pt>
                <c:pt idx="425">
                  <c:v>19611.337369880002</c:v>
                </c:pt>
                <c:pt idx="426">
                  <c:v>19475.961499739999</c:v>
                </c:pt>
                <c:pt idx="427">
                  <c:v>19472.28581374</c:v>
                </c:pt>
                <c:pt idx="428">
                  <c:v>19171.861595980001</c:v>
                </c:pt>
                <c:pt idx="429">
                  <c:v>19189.281755939999</c:v>
                </c:pt>
                <c:pt idx="430">
                  <c:v>19132.648816520003</c:v>
                </c:pt>
                <c:pt idx="431">
                  <c:v>19155.468532599996</c:v>
                </c:pt>
                <c:pt idx="432">
                  <c:v>17985.807080840001</c:v>
                </c:pt>
                <c:pt idx="433">
                  <c:v>17485.638091659999</c:v>
                </c:pt>
                <c:pt idx="434">
                  <c:v>17212.926476279998</c:v>
                </c:pt>
                <c:pt idx="435">
                  <c:v>17183.058904360001</c:v>
                </c:pt>
                <c:pt idx="436">
                  <c:v>17434.642407079999</c:v>
                </c:pt>
                <c:pt idx="437">
                  <c:v>17386.217671779999</c:v>
                </c:pt>
                <c:pt idx="438">
                  <c:v>17081.49430798</c:v>
                </c:pt>
                <c:pt idx="439">
                  <c:v>17271.974279040001</c:v>
                </c:pt>
                <c:pt idx="440">
                  <c:v>17460.227917119999</c:v>
                </c:pt>
                <c:pt idx="441">
                  <c:v>17075.911940460002</c:v>
                </c:pt>
                <c:pt idx="442">
                  <c:v>17070.374774560001</c:v>
                </c:pt>
                <c:pt idx="443">
                  <c:v>17086.026906520001</c:v>
                </c:pt>
                <c:pt idx="444">
                  <c:v>17022.622743420001</c:v>
                </c:pt>
                <c:pt idx="445">
                  <c:v>17012.881342499997</c:v>
                </c:pt>
                <c:pt idx="446">
                  <c:v>17264.71652976</c:v>
                </c:pt>
                <c:pt idx="447">
                  <c:v>17244.45696978</c:v>
                </c:pt>
                <c:pt idx="448">
                  <c:v>17242.594407619999</c:v>
                </c:pt>
                <c:pt idx="449">
                  <c:v>29019.043343459998</c:v>
                </c:pt>
                <c:pt idx="450">
                  <c:v>30013.372277919996</c:v>
                </c:pt>
                <c:pt idx="451">
                  <c:v>30300.23315674</c:v>
                </c:pt>
                <c:pt idx="452">
                  <c:v>30395.116269960003</c:v>
                </c:pt>
                <c:pt idx="453">
                  <c:v>30220.45024572</c:v>
                </c:pt>
                <c:pt idx="454">
                  <c:v>30513.193054322997</c:v>
                </c:pt>
                <c:pt idx="455">
                  <c:v>30394.796034106002</c:v>
                </c:pt>
                <c:pt idx="456">
                  <c:v>30182.391035401</c:v>
                </c:pt>
                <c:pt idx="457">
                  <c:v>30284.312528689999</c:v>
                </c:pt>
                <c:pt idx="458">
                  <c:v>30154.610843338003</c:v>
                </c:pt>
                <c:pt idx="459">
                  <c:v>29969.237305390998</c:v>
                </c:pt>
                <c:pt idx="460">
                  <c:v>30027.557459435004</c:v>
                </c:pt>
                <c:pt idx="461">
                  <c:v>29852.478918772998</c:v>
                </c:pt>
                <c:pt idx="462">
                  <c:v>29084.335166814002</c:v>
                </c:pt>
                <c:pt idx="463">
                  <c:v>29063.321959658002</c:v>
                </c:pt>
                <c:pt idx="464">
                  <c:v>28950.633420023001</c:v>
                </c:pt>
                <c:pt idx="465">
                  <c:v>28965.882944139001</c:v>
                </c:pt>
                <c:pt idx="466">
                  <c:v>30886.279377308001</c:v>
                </c:pt>
                <c:pt idx="467">
                  <c:v>29955.959366315998</c:v>
                </c:pt>
                <c:pt idx="468">
                  <c:v>30123.201440696001</c:v>
                </c:pt>
                <c:pt idx="469">
                  <c:v>30219.797622294001</c:v>
                </c:pt>
                <c:pt idx="470">
                  <c:v>29772.819357933</c:v>
                </c:pt>
                <c:pt idx="471">
                  <c:v>29659.924901170005</c:v>
                </c:pt>
                <c:pt idx="472">
                  <c:v>29787.079079405001</c:v>
                </c:pt>
                <c:pt idx="473">
                  <c:v>30197.411351652998</c:v>
                </c:pt>
                <c:pt idx="474">
                  <c:v>30253.033021609001</c:v>
                </c:pt>
                <c:pt idx="475">
                  <c:v>30199.690457044002</c:v>
                </c:pt>
                <c:pt idx="476">
                  <c:v>30409.803158130999</c:v>
                </c:pt>
                <c:pt idx="477">
                  <c:v>30505.493291025999</c:v>
                </c:pt>
                <c:pt idx="478">
                  <c:v>30043.420837033998</c:v>
                </c:pt>
                <c:pt idx="479">
                  <c:v>31613.785558504002</c:v>
                </c:pt>
                <c:pt idx="480">
                  <c:v>32650.846608681</c:v>
                </c:pt>
                <c:pt idx="481">
                  <c:v>33346.740307355001</c:v>
                </c:pt>
                <c:pt idx="482">
                  <c:v>33427.240607154999</c:v>
                </c:pt>
                <c:pt idx="483">
                  <c:v>34014.614862248003</c:v>
                </c:pt>
                <c:pt idx="484">
                  <c:v>34359.786117162999</c:v>
                </c:pt>
                <c:pt idx="485">
                  <c:v>34138.336305453005</c:v>
                </c:pt>
                <c:pt idx="486">
                  <c:v>34206.605549440006</c:v>
                </c:pt>
                <c:pt idx="487">
                  <c:v>34379.330507310005</c:v>
                </c:pt>
                <c:pt idx="488">
                  <c:v>34111.622780449004</c:v>
                </c:pt>
                <c:pt idx="489">
                  <c:v>33433.138445974997</c:v>
                </c:pt>
                <c:pt idx="490">
                  <c:v>33378.246541382003</c:v>
                </c:pt>
                <c:pt idx="491">
                  <c:v>33237.942982072003</c:v>
                </c:pt>
                <c:pt idx="492">
                  <c:v>33187.149344763006</c:v>
                </c:pt>
                <c:pt idx="493">
                  <c:v>33140.732945791009</c:v>
                </c:pt>
                <c:pt idx="494">
                  <c:v>32858.120057385</c:v>
                </c:pt>
                <c:pt idx="495">
                  <c:v>32847.832680799002</c:v>
                </c:pt>
                <c:pt idx="496">
                  <c:v>32639.816748586003</c:v>
                </c:pt>
                <c:pt idx="497">
                  <c:v>32437.629885690003</c:v>
                </c:pt>
                <c:pt idx="498">
                  <c:v>32873.421844672994</c:v>
                </c:pt>
                <c:pt idx="499">
                  <c:v>33501.161754617999</c:v>
                </c:pt>
                <c:pt idx="500">
                  <c:v>33571.318284787005</c:v>
                </c:pt>
                <c:pt idx="501">
                  <c:v>34434.194884083001</c:v>
                </c:pt>
                <c:pt idx="502">
                  <c:v>34638.878526244996</c:v>
                </c:pt>
                <c:pt idx="503">
                  <c:v>34979.887490893001</c:v>
                </c:pt>
                <c:pt idx="504">
                  <c:v>35289.871383705002</c:v>
                </c:pt>
                <c:pt idx="505">
                  <c:v>34812.545423575997</c:v>
                </c:pt>
                <c:pt idx="506">
                  <c:v>34853.261576916004</c:v>
                </c:pt>
                <c:pt idx="507">
                  <c:v>35175.718130078996</c:v>
                </c:pt>
                <c:pt idx="508">
                  <c:v>35675.578232319996</c:v>
                </c:pt>
                <c:pt idx="509">
                  <c:v>35861.670547255999</c:v>
                </c:pt>
                <c:pt idx="510">
                  <c:v>35726.830454720999</c:v>
                </c:pt>
                <c:pt idx="511">
                  <c:v>34709.276189593002</c:v>
                </c:pt>
                <c:pt idx="512">
                  <c:v>34730.160881392003</c:v>
                </c:pt>
                <c:pt idx="513">
                  <c:v>33946.934430101996</c:v>
                </c:pt>
                <c:pt idx="514">
                  <c:v>34369.627878294996</c:v>
                </c:pt>
                <c:pt idx="515">
                  <c:v>34495.029449684997</c:v>
                </c:pt>
                <c:pt idx="516">
                  <c:v>35141.304362408999</c:v>
                </c:pt>
                <c:pt idx="517">
                  <c:v>34564.296907872005</c:v>
                </c:pt>
                <c:pt idx="518">
                  <c:v>35052.252805691998</c:v>
                </c:pt>
                <c:pt idx="519">
                  <c:v>35406.079523344</c:v>
                </c:pt>
                <c:pt idx="520">
                  <c:v>36109.660496935001</c:v>
                </c:pt>
                <c:pt idx="521">
                  <c:v>36380.365186106996</c:v>
                </c:pt>
                <c:pt idx="522">
                  <c:v>36204.193797419008</c:v>
                </c:pt>
                <c:pt idx="523">
                  <c:v>36103.377341947002</c:v>
                </c:pt>
                <c:pt idx="524">
                  <c:v>36287.872986681003</c:v>
                </c:pt>
                <c:pt idx="525">
                  <c:v>36391.292677709003</c:v>
                </c:pt>
                <c:pt idx="526">
                  <c:v>37865.586782405</c:v>
                </c:pt>
                <c:pt idx="527">
                  <c:v>36865.149606813</c:v>
                </c:pt>
                <c:pt idx="528">
                  <c:v>37018.302202384002</c:v>
                </c:pt>
                <c:pt idx="529">
                  <c:v>37195.583564403001</c:v>
                </c:pt>
                <c:pt idx="530">
                  <c:v>37244.830088616</c:v>
                </c:pt>
                <c:pt idx="531">
                  <c:v>38212.673495052004</c:v>
                </c:pt>
                <c:pt idx="532">
                  <c:v>38089.036907300004</c:v>
                </c:pt>
                <c:pt idx="533">
                  <c:v>37931.809727991997</c:v>
                </c:pt>
                <c:pt idx="534">
                  <c:v>37569.539521144005</c:v>
                </c:pt>
                <c:pt idx="535">
                  <c:v>37523.886387327999</c:v>
                </c:pt>
                <c:pt idx="536">
                  <c:v>37405.037981144</c:v>
                </c:pt>
                <c:pt idx="537">
                  <c:v>36635.15720188</c:v>
                </c:pt>
                <c:pt idx="538">
                  <c:v>36101.636067211999</c:v>
                </c:pt>
                <c:pt idx="539">
                  <c:v>36542.505462279005</c:v>
                </c:pt>
                <c:pt idx="540">
                  <c:v>36359.007192864003</c:v>
                </c:pt>
                <c:pt idx="541">
                  <c:v>36432.717229688002</c:v>
                </c:pt>
                <c:pt idx="542">
                  <c:v>35614.018711736004</c:v>
                </c:pt>
                <c:pt idx="543">
                  <c:v>35817.961923706003</c:v>
                </c:pt>
                <c:pt idx="544">
                  <c:v>36102.825172561003</c:v>
                </c:pt>
                <c:pt idx="545">
                  <c:v>35680.737313348</c:v>
                </c:pt>
                <c:pt idx="546">
                  <c:v>36070.088113343998</c:v>
                </c:pt>
                <c:pt idx="547">
                  <c:v>36362.897716177999</c:v>
                </c:pt>
                <c:pt idx="548">
                  <c:v>36573.419417598998</c:v>
                </c:pt>
                <c:pt idx="549">
                  <c:v>36673.495825723003</c:v>
                </c:pt>
                <c:pt idx="550">
                  <c:v>36802.422069691005</c:v>
                </c:pt>
                <c:pt idx="551">
                  <c:v>37377.298485722007</c:v>
                </c:pt>
                <c:pt idx="552">
                  <c:v>37334.907163814998</c:v>
                </c:pt>
                <c:pt idx="553">
                  <c:v>37988.349665066999</c:v>
                </c:pt>
                <c:pt idx="554">
                  <c:v>38544.257913987996</c:v>
                </c:pt>
                <c:pt idx="555">
                  <c:v>38854.764983343004</c:v>
                </c:pt>
                <c:pt idx="556">
                  <c:v>39317.360880995999</c:v>
                </c:pt>
                <c:pt idx="557">
                  <c:v>39805.012253691995</c:v>
                </c:pt>
                <c:pt idx="558">
                  <c:v>39873.205742977996</c:v>
                </c:pt>
                <c:pt idx="559">
                  <c:v>39610.759653775</c:v>
                </c:pt>
                <c:pt idx="560">
                  <c:v>40202.08485798</c:v>
                </c:pt>
                <c:pt idx="561">
                  <c:v>39852.650312070007</c:v>
                </c:pt>
                <c:pt idx="562">
                  <c:v>39824.570950703004</c:v>
                </c:pt>
                <c:pt idx="563">
                  <c:v>40382.590168062001</c:v>
                </c:pt>
                <c:pt idx="564">
                  <c:v>40328.190724680004</c:v>
                </c:pt>
                <c:pt idx="565">
                  <c:v>39694.036485873999</c:v>
                </c:pt>
                <c:pt idx="566">
                  <c:v>40021.559078784005</c:v>
                </c:pt>
                <c:pt idx="567">
                  <c:v>39817.719607532003</c:v>
                </c:pt>
                <c:pt idx="568">
                  <c:v>40663.603994889003</c:v>
                </c:pt>
                <c:pt idx="569">
                  <c:v>40653.006661045998</c:v>
                </c:pt>
                <c:pt idx="570">
                  <c:v>41073.348647138002</c:v>
                </c:pt>
                <c:pt idx="571">
                  <c:v>41466.196965443996</c:v>
                </c:pt>
                <c:pt idx="572">
                  <c:v>41347.039288804997</c:v>
                </c:pt>
                <c:pt idx="573">
                  <c:v>41345.517446430997</c:v>
                </c:pt>
                <c:pt idx="574">
                  <c:v>41397.553554905004</c:v>
                </c:pt>
                <c:pt idx="575">
                  <c:v>42634.524519958999</c:v>
                </c:pt>
                <c:pt idx="576">
                  <c:v>43059.066429325001</c:v>
                </c:pt>
                <c:pt idx="577">
                  <c:v>41952.99328486</c:v>
                </c:pt>
                <c:pt idx="578">
                  <c:v>42041.845205618003</c:v>
                </c:pt>
                <c:pt idx="579">
                  <c:v>42590.168933054003</c:v>
                </c:pt>
                <c:pt idx="580">
                  <c:v>41642.795365058002</c:v>
                </c:pt>
                <c:pt idx="581">
                  <c:v>42367.065765531006</c:v>
                </c:pt>
                <c:pt idx="582">
                  <c:v>43011.390566499998</c:v>
                </c:pt>
                <c:pt idx="583">
                  <c:v>43037.782649990004</c:v>
                </c:pt>
                <c:pt idx="584">
                  <c:v>43261.894411123001</c:v>
                </c:pt>
                <c:pt idx="585">
                  <c:v>42989.876057170004</c:v>
                </c:pt>
                <c:pt idx="586">
                  <c:v>43532.909743529002</c:v>
                </c:pt>
                <c:pt idx="587">
                  <c:v>43531.438684676999</c:v>
                </c:pt>
                <c:pt idx="588">
                  <c:v>43127.036695228002</c:v>
                </c:pt>
                <c:pt idx="589">
                  <c:v>42915.482488859008</c:v>
                </c:pt>
                <c:pt idx="590">
                  <c:v>42803.891264311998</c:v>
                </c:pt>
                <c:pt idx="591">
                  <c:v>43109.716632197</c:v>
                </c:pt>
                <c:pt idx="592">
                  <c:v>43546.468468879</c:v>
                </c:pt>
                <c:pt idx="593">
                  <c:v>43607.894970024994</c:v>
                </c:pt>
                <c:pt idx="594">
                  <c:v>45795.857540985999</c:v>
                </c:pt>
                <c:pt idx="595">
                  <c:v>46696.825740530003</c:v>
                </c:pt>
                <c:pt idx="596">
                  <c:v>46926.309594448998</c:v>
                </c:pt>
                <c:pt idx="597">
                  <c:v>47035.503065985999</c:v>
                </c:pt>
                <c:pt idx="598">
                  <c:v>47021.879354463003</c:v>
                </c:pt>
                <c:pt idx="599">
                  <c:v>46812.605184413005</c:v>
                </c:pt>
                <c:pt idx="600">
                  <c:v>47156.487269135003</c:v>
                </c:pt>
                <c:pt idx="601">
                  <c:v>47226.306677586996</c:v>
                </c:pt>
                <c:pt idx="602">
                  <c:v>47638.090807013999</c:v>
                </c:pt>
                <c:pt idx="603">
                  <c:v>47618.902971151998</c:v>
                </c:pt>
                <c:pt idx="604">
                  <c:v>47624.840082217008</c:v>
                </c:pt>
                <c:pt idx="605">
                  <c:v>47197.670079618998</c:v>
                </c:pt>
                <c:pt idx="606">
                  <c:v>46380.991427030996</c:v>
                </c:pt>
                <c:pt idx="607">
                  <c:v>45868.100933499998</c:v>
                </c:pt>
                <c:pt idx="608">
                  <c:v>45308.827904416998</c:v>
                </c:pt>
                <c:pt idx="609">
                  <c:v>45160.103702271997</c:v>
                </c:pt>
                <c:pt idx="610">
                  <c:v>45071.289571779998</c:v>
                </c:pt>
                <c:pt idx="611">
                  <c:v>45127.245431570002</c:v>
                </c:pt>
                <c:pt idx="612">
                  <c:v>45626.488082005999</c:v>
                </c:pt>
                <c:pt idx="613">
                  <c:v>45662.402617904998</c:v>
                </c:pt>
                <c:pt idx="614">
                  <c:v>45757.481905436005</c:v>
                </c:pt>
                <c:pt idx="615">
                  <c:v>45635.386550619995</c:v>
                </c:pt>
                <c:pt idx="616">
                  <c:v>45609.391582971002</c:v>
                </c:pt>
                <c:pt idx="617">
                  <c:v>45754.411866966002</c:v>
                </c:pt>
                <c:pt idx="618">
                  <c:v>45542.909225219999</c:v>
                </c:pt>
                <c:pt idx="619">
                  <c:v>45586.027912856007</c:v>
                </c:pt>
                <c:pt idx="620">
                  <c:v>45384.413231354993</c:v>
                </c:pt>
                <c:pt idx="621">
                  <c:v>44961.684357211001</c:v>
                </c:pt>
                <c:pt idx="622">
                  <c:v>44581.701246100005</c:v>
                </c:pt>
                <c:pt idx="623">
                  <c:v>44642.368188715001</c:v>
                </c:pt>
                <c:pt idx="624">
                  <c:v>45244.799196706001</c:v>
                </c:pt>
                <c:pt idx="625">
                  <c:v>45590.683655736997</c:v>
                </c:pt>
                <c:pt idx="626">
                  <c:v>45051.426324999993</c:v>
                </c:pt>
                <c:pt idx="627">
                  <c:v>44362.347781774006</c:v>
                </c:pt>
                <c:pt idx="628">
                  <c:v>44276.125467652004</c:v>
                </c:pt>
                <c:pt idx="629">
                  <c:v>44135.777109732997</c:v>
                </c:pt>
                <c:pt idx="630">
                  <c:v>43747.828491393004</c:v>
                </c:pt>
                <c:pt idx="631">
                  <c:v>43730.218861349</c:v>
                </c:pt>
                <c:pt idx="632">
                  <c:v>43721.403335613999</c:v>
                </c:pt>
                <c:pt idx="633">
                  <c:v>44280.454601256999</c:v>
                </c:pt>
                <c:pt idx="634">
                  <c:v>43982.920751783997</c:v>
                </c:pt>
                <c:pt idx="635">
                  <c:v>44258.622326575001</c:v>
                </c:pt>
                <c:pt idx="636">
                  <c:v>43855.707397010003</c:v>
                </c:pt>
                <c:pt idx="637">
                  <c:v>43703.756448998</c:v>
                </c:pt>
                <c:pt idx="638">
                  <c:v>43083.091767409998</c:v>
                </c:pt>
                <c:pt idx="639">
                  <c:v>43207.179627702993</c:v>
                </c:pt>
                <c:pt idx="640">
                  <c:v>42040.182337664002</c:v>
                </c:pt>
                <c:pt idx="641">
                  <c:v>42196.361607487997</c:v>
                </c:pt>
                <c:pt idx="642">
                  <c:v>42762.326579414002</c:v>
                </c:pt>
                <c:pt idx="643">
                  <c:v>42499.353289229002</c:v>
                </c:pt>
                <c:pt idx="644">
                  <c:v>42624.990133440006</c:v>
                </c:pt>
                <c:pt idx="645">
                  <c:v>42856.918011696995</c:v>
                </c:pt>
                <c:pt idx="646">
                  <c:v>42847.174612999996</c:v>
                </c:pt>
                <c:pt idx="647">
                  <c:v>43314.835834561003</c:v>
                </c:pt>
                <c:pt idx="648">
                  <c:v>42602.042476276998</c:v>
                </c:pt>
                <c:pt idx="649">
                  <c:v>42698.191197451</c:v>
                </c:pt>
                <c:pt idx="650">
                  <c:v>43029.954788549003</c:v>
                </c:pt>
                <c:pt idx="651">
                  <c:v>44589.942365152005</c:v>
                </c:pt>
                <c:pt idx="652">
                  <c:v>45436.513294296004</c:v>
                </c:pt>
                <c:pt idx="653">
                  <c:v>45523.652677758</c:v>
                </c:pt>
                <c:pt idx="654">
                  <c:v>45424.094170541</c:v>
                </c:pt>
                <c:pt idx="655">
                  <c:v>46320.254118176999</c:v>
                </c:pt>
                <c:pt idx="656">
                  <c:v>46136.219517106998</c:v>
                </c:pt>
                <c:pt idx="657">
                  <c:v>46134.50430669701</c:v>
                </c:pt>
                <c:pt idx="658">
                  <c:v>48266.533715358004</c:v>
                </c:pt>
                <c:pt idx="659">
                  <c:v>49569.128501186999</c:v>
                </c:pt>
                <c:pt idx="660">
                  <c:v>50259.029846314006</c:v>
                </c:pt>
                <c:pt idx="661">
                  <c:v>51228.588706853006</c:v>
                </c:pt>
                <c:pt idx="662">
                  <c:v>51694.342827449997</c:v>
                </c:pt>
                <c:pt idx="663">
                  <c:v>50600.382949906998</c:v>
                </c:pt>
                <c:pt idx="664">
                  <c:v>51991.559411328999</c:v>
                </c:pt>
                <c:pt idx="665">
                  <c:v>51993.037822186998</c:v>
                </c:pt>
                <c:pt idx="666">
                  <c:v>52377.026695128996</c:v>
                </c:pt>
                <c:pt idx="667">
                  <c:v>51789.981745022997</c:v>
                </c:pt>
                <c:pt idx="668">
                  <c:v>52284.688485485</c:v>
                </c:pt>
                <c:pt idx="669">
                  <c:v>50690.091321936008</c:v>
                </c:pt>
                <c:pt idx="670">
                  <c:v>50830.945463472999</c:v>
                </c:pt>
                <c:pt idx="671">
                  <c:v>50793.898977692006</c:v>
                </c:pt>
                <c:pt idx="672">
                  <c:v>50033.104017139995</c:v>
                </c:pt>
                <c:pt idx="673">
                  <c:v>48934.968660824998</c:v>
                </c:pt>
                <c:pt idx="674">
                  <c:v>47634.723106457997</c:v>
                </c:pt>
                <c:pt idx="675">
                  <c:v>47136.993063125003</c:v>
                </c:pt>
                <c:pt idx="676">
                  <c:v>46502.592643933007</c:v>
                </c:pt>
                <c:pt idx="677">
                  <c:v>46923.447331105999</c:v>
                </c:pt>
                <c:pt idx="678">
                  <c:v>46040.248478109002</c:v>
                </c:pt>
                <c:pt idx="679">
                  <c:v>45766.638338821998</c:v>
                </c:pt>
                <c:pt idx="680">
                  <c:v>47158.430726655992</c:v>
                </c:pt>
                <c:pt idx="681">
                  <c:v>47966.146436475996</c:v>
                </c:pt>
                <c:pt idx="682">
                  <c:v>47601.661710316002</c:v>
                </c:pt>
                <c:pt idx="683">
                  <c:v>48168.130869052999</c:v>
                </c:pt>
                <c:pt idx="684">
                  <c:v>48217.867970708001</c:v>
                </c:pt>
                <c:pt idx="685">
                  <c:v>48531.167655197998</c:v>
                </c:pt>
                <c:pt idx="686">
                  <c:v>49784.398006988005</c:v>
                </c:pt>
                <c:pt idx="687">
                  <c:v>50608.379827284996</c:v>
                </c:pt>
                <c:pt idx="688">
                  <c:v>49548.915683209998</c:v>
                </c:pt>
                <c:pt idx="689">
                  <c:v>51742.84927893</c:v>
                </c:pt>
                <c:pt idx="690">
                  <c:v>52460.617657260002</c:v>
                </c:pt>
                <c:pt idx="691">
                  <c:v>51523.192700623003</c:v>
                </c:pt>
                <c:pt idx="692">
                  <c:v>51152.781266613005</c:v>
                </c:pt>
                <c:pt idx="693">
                  <c:v>51423.067420314997</c:v>
                </c:pt>
                <c:pt idx="694">
                  <c:v>51529.932182215001</c:v>
                </c:pt>
                <c:pt idx="695">
                  <c:v>51284.420599015997</c:v>
                </c:pt>
                <c:pt idx="696">
                  <c:v>50545.697309083</c:v>
                </c:pt>
                <c:pt idx="697">
                  <c:v>49648.291052372006</c:v>
                </c:pt>
                <c:pt idx="698">
                  <c:v>49331.125138153991</c:v>
                </c:pt>
                <c:pt idx="699">
                  <c:v>48755.652215843002</c:v>
                </c:pt>
                <c:pt idx="700">
                  <c:v>48697.034717638002</c:v>
                </c:pt>
                <c:pt idx="701">
                  <c:v>48654.241737055003</c:v>
                </c:pt>
                <c:pt idx="702">
                  <c:v>49227.428564771006</c:v>
                </c:pt>
                <c:pt idx="703">
                  <c:v>49015.688791532004</c:v>
                </c:pt>
                <c:pt idx="704">
                  <c:v>49562.273067955</c:v>
                </c:pt>
                <c:pt idx="705">
                  <c:v>49386.175205043</c:v>
                </c:pt>
                <c:pt idx="706">
                  <c:v>49951.671045866002</c:v>
                </c:pt>
                <c:pt idx="707">
                  <c:v>43389.018795597003</c:v>
                </c:pt>
                <c:pt idx="708">
                  <c:v>44669.530848886003</c:v>
                </c:pt>
                <c:pt idx="709">
                  <c:v>45722.170965233003</c:v>
                </c:pt>
                <c:pt idx="710">
                  <c:v>43840.61514686</c:v>
                </c:pt>
                <c:pt idx="711">
                  <c:v>44178.672562014006</c:v>
                </c:pt>
                <c:pt idx="712">
                  <c:v>44908.707275456996</c:v>
                </c:pt>
                <c:pt idx="713">
                  <c:v>43824.640551447003</c:v>
                </c:pt>
                <c:pt idx="714">
                  <c:v>43768.67514991801</c:v>
                </c:pt>
                <c:pt idx="715">
                  <c:v>43814.822104739003</c:v>
                </c:pt>
                <c:pt idx="716">
                  <c:v>42284.645898165996</c:v>
                </c:pt>
                <c:pt idx="717">
                  <c:v>43078.309044506008</c:v>
                </c:pt>
                <c:pt idx="718">
                  <c:v>41988.321437828999</c:v>
                </c:pt>
                <c:pt idx="719">
                  <c:v>41538.802407739</c:v>
                </c:pt>
                <c:pt idx="720">
                  <c:v>40280.474923745998</c:v>
                </c:pt>
                <c:pt idx="721">
                  <c:v>40136.635510300002</c:v>
                </c:pt>
                <c:pt idx="722">
                  <c:v>40077.555710501001</c:v>
                </c:pt>
                <c:pt idx="723">
                  <c:v>39815.917049078002</c:v>
                </c:pt>
                <c:pt idx="724">
                  <c:v>39534.440101822001</c:v>
                </c:pt>
                <c:pt idx="725">
                  <c:v>40217.472562622002</c:v>
                </c:pt>
                <c:pt idx="726">
                  <c:v>41128.576875945</c:v>
                </c:pt>
                <c:pt idx="727">
                  <c:v>40016.323044438999</c:v>
                </c:pt>
                <c:pt idx="728">
                  <c:v>39230.564576128003</c:v>
                </c:pt>
                <c:pt idx="729">
                  <c:v>39993.120891193001</c:v>
                </c:pt>
                <c:pt idx="730">
                  <c:v>39493.425305978002</c:v>
                </c:pt>
                <c:pt idx="731">
                  <c:v>40047.714053517004</c:v>
                </c:pt>
                <c:pt idx="732">
                  <c:v>40849.122910462997</c:v>
                </c:pt>
                <c:pt idx="733">
                  <c:v>40966.908061385999</c:v>
                </c:pt>
                <c:pt idx="734">
                  <c:v>40546.041625886006</c:v>
                </c:pt>
                <c:pt idx="735">
                  <c:v>40109.679533952003</c:v>
                </c:pt>
                <c:pt idx="736">
                  <c:v>40146.662738876003</c:v>
                </c:pt>
                <c:pt idx="737">
                  <c:v>40604.633515451002</c:v>
                </c:pt>
                <c:pt idx="738">
                  <c:v>40516.843756418995</c:v>
                </c:pt>
                <c:pt idx="739">
                  <c:v>39919.671146859007</c:v>
                </c:pt>
                <c:pt idx="740">
                  <c:v>38513.510170189998</c:v>
                </c:pt>
                <c:pt idx="741">
                  <c:v>38072.328743455997</c:v>
                </c:pt>
                <c:pt idx="742">
                  <c:v>37964.433408826008</c:v>
                </c:pt>
                <c:pt idx="743">
                  <c:v>32903.439758851993</c:v>
                </c:pt>
                <c:pt idx="744">
                  <c:v>32943.514211623995</c:v>
                </c:pt>
                <c:pt idx="745">
                  <c:v>32642.590058055001</c:v>
                </c:pt>
                <c:pt idx="746">
                  <c:v>31049.198212656</c:v>
                </c:pt>
                <c:pt idx="747">
                  <c:v>27923.349796966002</c:v>
                </c:pt>
                <c:pt idx="748">
                  <c:v>28713.900928188999</c:v>
                </c:pt>
                <c:pt idx="749">
                  <c:v>28848.153394084005</c:v>
                </c:pt>
                <c:pt idx="750">
                  <c:v>27247.417529058002</c:v>
                </c:pt>
                <c:pt idx="751">
                  <c:v>26910.563979971004</c:v>
                </c:pt>
                <c:pt idx="752">
                  <c:v>29845.559613188998</c:v>
                </c:pt>
                <c:pt idx="753">
                  <c:v>28622.840599170995</c:v>
                </c:pt>
                <c:pt idx="754">
                  <c:v>27899.753777117003</c:v>
                </c:pt>
                <c:pt idx="755">
                  <c:v>27418.789372494</c:v>
                </c:pt>
                <c:pt idx="756">
                  <c:v>27668.262337701002</c:v>
                </c:pt>
                <c:pt idx="757">
                  <c:v>28987.052129446001</c:v>
                </c:pt>
                <c:pt idx="758">
                  <c:v>28967.350833706998</c:v>
                </c:pt>
                <c:pt idx="759">
                  <c:v>29487.297912732</c:v>
                </c:pt>
                <c:pt idx="760">
                  <c:v>29682.766915672008</c:v>
                </c:pt>
                <c:pt idx="761">
                  <c:v>29794.675153504002</c:v>
                </c:pt>
                <c:pt idx="762">
                  <c:v>29784.105997239996</c:v>
                </c:pt>
                <c:pt idx="763">
                  <c:v>30062.922343409999</c:v>
                </c:pt>
                <c:pt idx="764">
                  <c:v>30003.539641353993</c:v>
                </c:pt>
                <c:pt idx="765">
                  <c:v>29427.889873606004</c:v>
                </c:pt>
                <c:pt idx="766">
                  <c:v>30848.243758709999</c:v>
                </c:pt>
                <c:pt idx="767">
                  <c:v>30826.818256787992</c:v>
                </c:pt>
                <c:pt idx="768">
                  <c:v>30827.195781852995</c:v>
                </c:pt>
                <c:pt idx="769">
                  <c:v>31184.537385014999</c:v>
                </c:pt>
                <c:pt idx="770">
                  <c:v>31281.440116860002</c:v>
                </c:pt>
                <c:pt idx="771">
                  <c:v>30615.033112626003</c:v>
                </c:pt>
                <c:pt idx="772">
                  <c:v>31318.010857531001</c:v>
                </c:pt>
                <c:pt idx="773">
                  <c:v>29913.535091657002</c:v>
                </c:pt>
                <c:pt idx="774">
                  <c:v>29170.677168804003</c:v>
                </c:pt>
                <c:pt idx="775">
                  <c:v>26959.144228776</c:v>
                </c:pt>
                <c:pt idx="776">
                  <c:v>27406.526459594999</c:v>
                </c:pt>
                <c:pt idx="777">
                  <c:v>26070.305181080999</c:v>
                </c:pt>
                <c:pt idx="778">
                  <c:v>24848.086391893004</c:v>
                </c:pt>
                <c:pt idx="779">
                  <c:v>24042.509448880999</c:v>
                </c:pt>
                <c:pt idx="780">
                  <c:v>25721.884267682999</c:v>
                </c:pt>
                <c:pt idx="781">
                  <c:v>25322.900742694001</c:v>
                </c:pt>
                <c:pt idx="782">
                  <c:v>25629.706555828998</c:v>
                </c:pt>
                <c:pt idx="783">
                  <c:v>24835.557754048998</c:v>
                </c:pt>
                <c:pt idx="784">
                  <c:v>24586.749348885998</c:v>
                </c:pt>
                <c:pt idx="785">
                  <c:v>24551.824547303</c:v>
                </c:pt>
                <c:pt idx="786">
                  <c:v>25501.519862835001</c:v>
                </c:pt>
                <c:pt idx="787">
                  <c:v>25907.022141475998</c:v>
                </c:pt>
                <c:pt idx="788">
                  <c:v>25719.911372125003</c:v>
                </c:pt>
                <c:pt idx="789">
                  <c:v>25485.256208341998</c:v>
                </c:pt>
                <c:pt idx="790">
                  <c:v>25020.263642405</c:v>
                </c:pt>
                <c:pt idx="791">
                  <c:v>24867.563648998002</c:v>
                </c:pt>
                <c:pt idx="792">
                  <c:v>24064.481891476004</c:v>
                </c:pt>
                <c:pt idx="793">
                  <c:v>22879.612958435006</c:v>
                </c:pt>
                <c:pt idx="794">
                  <c:v>22911.429662004004</c:v>
                </c:pt>
                <c:pt idx="795">
                  <c:v>23328.626869016</c:v>
                </c:pt>
                <c:pt idx="796">
                  <c:v>23222.355889003</c:v>
                </c:pt>
                <c:pt idx="797">
                  <c:v>22981.057708341999</c:v>
                </c:pt>
                <c:pt idx="798">
                  <c:v>22847.487225974</c:v>
                </c:pt>
                <c:pt idx="799">
                  <c:v>23832.637402827</c:v>
                </c:pt>
                <c:pt idx="800">
                  <c:v>23543.694893304</c:v>
                </c:pt>
                <c:pt idx="801">
                  <c:v>24097.540434794999</c:v>
                </c:pt>
                <c:pt idx="802">
                  <c:v>24105.208544944999</c:v>
                </c:pt>
                <c:pt idx="803">
                  <c:v>24222.172211303001</c:v>
                </c:pt>
                <c:pt idx="804">
                  <c:v>24407.850188495002</c:v>
                </c:pt>
                <c:pt idx="805">
                  <c:v>24581.929262276997</c:v>
                </c:pt>
                <c:pt idx="806">
                  <c:v>24638.615803467001</c:v>
                </c:pt>
                <c:pt idx="807">
                  <c:v>24985.164185971</c:v>
                </c:pt>
                <c:pt idx="808">
                  <c:v>24758.171092375</c:v>
                </c:pt>
                <c:pt idx="809">
                  <c:v>24397.496665258001</c:v>
                </c:pt>
                <c:pt idx="810">
                  <c:v>23850.37631095</c:v>
                </c:pt>
                <c:pt idx="811">
                  <c:v>23794.209706278998</c:v>
                </c:pt>
                <c:pt idx="812">
                  <c:v>23664.922134782999</c:v>
                </c:pt>
                <c:pt idx="813">
                  <c:v>23730.987788237002</c:v>
                </c:pt>
                <c:pt idx="814">
                  <c:v>22893.584136368001</c:v>
                </c:pt>
                <c:pt idx="815">
                  <c:v>23102.517733512999</c:v>
                </c:pt>
                <c:pt idx="816">
                  <c:v>22833.904513998001</c:v>
                </c:pt>
                <c:pt idx="817">
                  <c:v>22970.614214573998</c:v>
                </c:pt>
                <c:pt idx="818">
                  <c:v>22053.215252018999</c:v>
                </c:pt>
                <c:pt idx="819">
                  <c:v>22646.870333407998</c:v>
                </c:pt>
                <c:pt idx="820">
                  <c:v>22628.730705397</c:v>
                </c:pt>
                <c:pt idx="821">
                  <c:v>22320.552957045998</c:v>
                </c:pt>
                <c:pt idx="822">
                  <c:v>22812.941917219003</c:v>
                </c:pt>
                <c:pt idx="823">
                  <c:v>21760.928573130001</c:v>
                </c:pt>
                <c:pt idx="824">
                  <c:v>21827.266253180998</c:v>
                </c:pt>
                <c:pt idx="825">
                  <c:v>21527.779959862004</c:v>
                </c:pt>
                <c:pt idx="826">
                  <c:v>21514.632555267999</c:v>
                </c:pt>
                <c:pt idx="827">
                  <c:v>21368.583541457003</c:v>
                </c:pt>
                <c:pt idx="828">
                  <c:v>21214.070285174999</c:v>
                </c:pt>
                <c:pt idx="829">
                  <c:v>20528.089953066999</c:v>
                </c:pt>
                <c:pt idx="830">
                  <c:v>20710.885080141001</c:v>
                </c:pt>
                <c:pt idx="831">
                  <c:v>20275.651535876001</c:v>
                </c:pt>
                <c:pt idx="832">
                  <c:v>20657.733680084002</c:v>
                </c:pt>
                <c:pt idx="833">
                  <c:v>20401.065779510001</c:v>
                </c:pt>
                <c:pt idx="834">
                  <c:v>20618.358318349001</c:v>
                </c:pt>
                <c:pt idx="835">
                  <c:v>20216.752032893004</c:v>
                </c:pt>
                <c:pt idx="836">
                  <c:v>20274.236828535999</c:v>
                </c:pt>
                <c:pt idx="837">
                  <c:v>20579.354093561997</c:v>
                </c:pt>
                <c:pt idx="838">
                  <c:v>20146.902339873999</c:v>
                </c:pt>
                <c:pt idx="839">
                  <c:v>20048.143596296002</c:v>
                </c:pt>
                <c:pt idx="840">
                  <c:v>20153.157294799003</c:v>
                </c:pt>
                <c:pt idx="841">
                  <c:v>20768.833831438998</c:v>
                </c:pt>
                <c:pt idx="842">
                  <c:v>20567.1673882</c:v>
                </c:pt>
                <c:pt idx="843">
                  <c:v>20242.344779319999</c:v>
                </c:pt>
                <c:pt idx="844">
                  <c:v>19936.4066829</c:v>
                </c:pt>
                <c:pt idx="845">
                  <c:v>20473.017170449999</c:v>
                </c:pt>
                <c:pt idx="846">
                  <c:v>20498.62813144</c:v>
                </c:pt>
                <c:pt idx="847">
                  <c:v>20789.749311650001</c:v>
                </c:pt>
                <c:pt idx="848">
                  <c:v>21322.609731439999</c:v>
                </c:pt>
                <c:pt idx="849">
                  <c:v>21703.645676708999</c:v>
                </c:pt>
                <c:pt idx="850">
                  <c:v>20629.691622440001</c:v>
                </c:pt>
                <c:pt idx="851">
                  <c:v>20620.580672358999</c:v>
                </c:pt>
                <c:pt idx="852">
                  <c:v>21429.675399479001</c:v>
                </c:pt>
                <c:pt idx="853">
                  <c:v>21115.150340352</c:v>
                </c:pt>
                <c:pt idx="854">
                  <c:v>21120.925202358998</c:v>
                </c:pt>
                <c:pt idx="855">
                  <c:v>20993.773979409001</c:v>
                </c:pt>
                <c:pt idx="856">
                  <c:v>21061.058607414001</c:v>
                </c:pt>
                <c:pt idx="857">
                  <c:v>21153.013316532997</c:v>
                </c:pt>
                <c:pt idx="858">
                  <c:v>21876.606254638999</c:v>
                </c:pt>
                <c:pt idx="859">
                  <c:v>21208.152249769999</c:v>
                </c:pt>
                <c:pt idx="860">
                  <c:v>21304.640791820999</c:v>
                </c:pt>
                <c:pt idx="861">
                  <c:v>21731.673479680998</c:v>
                </c:pt>
                <c:pt idx="862">
                  <c:v>21817.633897568001</c:v>
                </c:pt>
                <c:pt idx="863">
                  <c:v>21980.492068795</c:v>
                </c:pt>
                <c:pt idx="864">
                  <c:v>21908.302701265999</c:v>
                </c:pt>
                <c:pt idx="865">
                  <c:v>21936.987433975002</c:v>
                </c:pt>
                <c:pt idx="866">
                  <c:v>22721.843039240001</c:v>
                </c:pt>
                <c:pt idx="867">
                  <c:v>22812.565468541001</c:v>
                </c:pt>
                <c:pt idx="868">
                  <c:v>23354.234197993002</c:v>
                </c:pt>
                <c:pt idx="869">
                  <c:v>23413.005353203</c:v>
                </c:pt>
                <c:pt idx="870">
                  <c:v>22990.898105483</c:v>
                </c:pt>
                <c:pt idx="871">
                  <c:v>23366.231530485002</c:v>
                </c:pt>
                <c:pt idx="872">
                  <c:v>22368.893395395004</c:v>
                </c:pt>
                <c:pt idx="873">
                  <c:v>22262.480598997001</c:v>
                </c:pt>
                <c:pt idx="874">
                  <c:v>21727.598498990999</c:v>
                </c:pt>
                <c:pt idx="875">
                  <c:v>21937.069049302001</c:v>
                </c:pt>
                <c:pt idx="876">
                  <c:v>22405.867494370999</c:v>
                </c:pt>
                <c:pt idx="877">
                  <c:v>22374.613724452</c:v>
                </c:pt>
                <c:pt idx="878">
                  <c:v>22585.272047311002</c:v>
                </c:pt>
                <c:pt idx="879">
                  <c:v>22615.619800166001</c:v>
                </c:pt>
                <c:pt idx="880">
                  <c:v>22777.321915471002</c:v>
                </c:pt>
                <c:pt idx="881">
                  <c:v>22706.594624272002</c:v>
                </c:pt>
                <c:pt idx="882">
                  <c:v>22941.568779922</c:v>
                </c:pt>
                <c:pt idx="883">
                  <c:v>22758.628641096999</c:v>
                </c:pt>
                <c:pt idx="884">
                  <c:v>23348.234555611001</c:v>
                </c:pt>
                <c:pt idx="885">
                  <c:v>23205.931058755999</c:v>
                </c:pt>
                <c:pt idx="886">
                  <c:v>24014.483318331</c:v>
                </c:pt>
                <c:pt idx="887">
                  <c:v>23120.430079730999</c:v>
                </c:pt>
                <c:pt idx="888">
                  <c:v>23765.981599346997</c:v>
                </c:pt>
                <c:pt idx="889">
                  <c:v>24333.830860706999</c:v>
                </c:pt>
                <c:pt idx="890">
                  <c:v>23755.470249577</c:v>
                </c:pt>
                <c:pt idx="891">
                  <c:v>23602.772500732</c:v>
                </c:pt>
                <c:pt idx="892">
                  <c:v>23467.003995691</c:v>
                </c:pt>
                <c:pt idx="893">
                  <c:v>23500.200341200998</c:v>
                </c:pt>
                <c:pt idx="894">
                  <c:v>23280.155646191997</c:v>
                </c:pt>
                <c:pt idx="895">
                  <c:v>23505.666557329001</c:v>
                </c:pt>
                <c:pt idx="896">
                  <c:v>23851.906756921002</c:v>
                </c:pt>
                <c:pt idx="897">
                  <c:v>23994.111977733002</c:v>
                </c:pt>
                <c:pt idx="898">
                  <c:v>24104.924129163999</c:v>
                </c:pt>
                <c:pt idx="899">
                  <c:v>24043.343017574</c:v>
                </c:pt>
                <c:pt idx="900">
                  <c:v>23703.260173893999</c:v>
                </c:pt>
                <c:pt idx="901">
                  <c:v>23618.534714084999</c:v>
                </c:pt>
                <c:pt idx="902">
                  <c:v>23565.464058574002</c:v>
                </c:pt>
                <c:pt idx="903">
                  <c:v>23318.323751319003</c:v>
                </c:pt>
                <c:pt idx="904">
                  <c:v>23619.865651084001</c:v>
                </c:pt>
                <c:pt idx="905">
                  <c:v>24041.34111596</c:v>
                </c:pt>
                <c:pt idx="906">
                  <c:v>23319.938425495999</c:v>
                </c:pt>
                <c:pt idx="907">
                  <c:v>23126.868878858</c:v>
                </c:pt>
                <c:pt idx="908">
                  <c:v>23686.956443814997</c:v>
                </c:pt>
                <c:pt idx="909">
                  <c:v>23625.207967045</c:v>
                </c:pt>
                <c:pt idx="910">
                  <c:v>23684.968766185</c:v>
                </c:pt>
                <c:pt idx="911">
                  <c:v>23611.132561811999</c:v>
                </c:pt>
                <c:pt idx="912">
                  <c:v>24108.180639936996</c:v>
                </c:pt>
                <c:pt idx="913">
                  <c:v>24355.833290583003</c:v>
                </c:pt>
                <c:pt idx="914">
                  <c:v>24277.181647990001</c:v>
                </c:pt>
                <c:pt idx="915">
                  <c:v>24250.207494388</c:v>
                </c:pt>
                <c:pt idx="916">
                  <c:v>24024.675808480999</c:v>
                </c:pt>
                <c:pt idx="917">
                  <c:v>24291.009638185998</c:v>
                </c:pt>
                <c:pt idx="918">
                  <c:v>24363.618247163002</c:v>
                </c:pt>
                <c:pt idx="919">
                  <c:v>24638.113843850999</c:v>
                </c:pt>
                <c:pt idx="920">
                  <c:v>24507.625998035001</c:v>
                </c:pt>
                <c:pt idx="921">
                  <c:v>24827.725779888999</c:v>
                </c:pt>
                <c:pt idx="922">
                  <c:v>25722.096041172001</c:v>
                </c:pt>
                <c:pt idx="923">
                  <c:v>25552.293190329001</c:v>
                </c:pt>
                <c:pt idx="924">
                  <c:v>25210.191423019001</c:v>
                </c:pt>
                <c:pt idx="925">
                  <c:v>25325.206203023001</c:v>
                </c:pt>
                <c:pt idx="926">
                  <c:v>25457.096319243003</c:v>
                </c:pt>
                <c:pt idx="927">
                  <c:v>25582.081823068998</c:v>
                </c:pt>
                <c:pt idx="928">
                  <c:v>25061.331963101999</c:v>
                </c:pt>
                <c:pt idx="929">
                  <c:v>25313.969355146</c:v>
                </c:pt>
                <c:pt idx="930">
                  <c:v>25671.411651893999</c:v>
                </c:pt>
                <c:pt idx="931">
                  <c:v>25949.608532164999</c:v>
                </c:pt>
                <c:pt idx="932">
                  <c:v>25879.744590787999</c:v>
                </c:pt>
                <c:pt idx="933">
                  <c:v>26019.678570778</c:v>
                </c:pt>
                <c:pt idx="934">
                  <c:v>26016.421627571002</c:v>
                </c:pt>
                <c:pt idx="935">
                  <c:v>25953.251718479001</c:v>
                </c:pt>
                <c:pt idx="936">
                  <c:v>26000.193135107002</c:v>
                </c:pt>
                <c:pt idx="937">
                  <c:v>26146.878358222999</c:v>
                </c:pt>
                <c:pt idx="938">
                  <c:v>25904.139581759002</c:v>
                </c:pt>
                <c:pt idx="939">
                  <c:v>25941.933173083999</c:v>
                </c:pt>
                <c:pt idx="940">
                  <c:v>26047.889234315997</c:v>
                </c:pt>
                <c:pt idx="941">
                  <c:v>26108.671253036999</c:v>
                </c:pt>
                <c:pt idx="942">
                  <c:v>25792.401425008</c:v>
                </c:pt>
                <c:pt idx="943">
                  <c:v>25475.589186088997</c:v>
                </c:pt>
                <c:pt idx="944">
                  <c:v>25816.194482810002</c:v>
                </c:pt>
                <c:pt idx="945">
                  <c:v>25373.044020788002</c:v>
                </c:pt>
                <c:pt idx="946">
                  <c:v>24749.13097582</c:v>
                </c:pt>
                <c:pt idx="947">
                  <c:v>24862.698982684997</c:v>
                </c:pt>
                <c:pt idx="948">
                  <c:v>25302.585449945</c:v>
                </c:pt>
                <c:pt idx="949">
                  <c:v>24843.858845046998</c:v>
                </c:pt>
                <c:pt idx="950">
                  <c:v>24502.732919919999</c:v>
                </c:pt>
                <c:pt idx="951">
                  <c:v>24725.077104796001</c:v>
                </c:pt>
                <c:pt idx="952">
                  <c:v>24533.233924638</c:v>
                </c:pt>
                <c:pt idx="953">
                  <c:v>24910.884044705999</c:v>
                </c:pt>
                <c:pt idx="954">
                  <c:v>24938.651972451</c:v>
                </c:pt>
                <c:pt idx="955">
                  <c:v>36933.572566160998</c:v>
                </c:pt>
                <c:pt idx="956">
                  <c:v>37084.187553554999</c:v>
                </c:pt>
                <c:pt idx="957">
                  <c:v>37477.313036769003</c:v>
                </c:pt>
                <c:pt idx="958">
                  <c:v>37595.391767631001</c:v>
                </c:pt>
                <c:pt idx="959">
                  <c:v>37627.903030784997</c:v>
                </c:pt>
                <c:pt idx="960">
                  <c:v>37761.366761447003</c:v>
                </c:pt>
                <c:pt idx="961">
                  <c:v>37826.274085671001</c:v>
                </c:pt>
                <c:pt idx="962">
                  <c:v>38315.833140859999</c:v>
                </c:pt>
                <c:pt idx="963">
                  <c:v>38410.582396476006</c:v>
                </c:pt>
                <c:pt idx="964">
                  <c:v>39024.718895017999</c:v>
                </c:pt>
                <c:pt idx="965">
                  <c:v>38914.570930478003</c:v>
                </c:pt>
                <c:pt idx="966">
                  <c:v>38981.069907450998</c:v>
                </c:pt>
                <c:pt idx="967">
                  <c:v>39213.644907911999</c:v>
                </c:pt>
                <c:pt idx="968">
                  <c:v>38113.653032946997</c:v>
                </c:pt>
                <c:pt idx="969">
                  <c:v>38239.989240643001</c:v>
                </c:pt>
                <c:pt idx="970">
                  <c:v>38350.385548220998</c:v>
                </c:pt>
                <c:pt idx="971">
                  <c:v>37870.193651547001</c:v>
                </c:pt>
                <c:pt idx="972">
                  <c:v>37794.303856075006</c:v>
                </c:pt>
                <c:pt idx="973">
                  <c:v>38085.225383645004</c:v>
                </c:pt>
                <c:pt idx="974">
                  <c:v>38744.862046456998</c:v>
                </c:pt>
                <c:pt idx="975">
                  <c:v>38985.399519572005</c:v>
                </c:pt>
                <c:pt idx="976">
                  <c:v>38943.735004566995</c:v>
                </c:pt>
                <c:pt idx="977">
                  <c:v>39653.887546573998</c:v>
                </c:pt>
                <c:pt idx="978">
                  <c:v>40434.005244943997</c:v>
                </c:pt>
                <c:pt idx="979">
                  <c:v>40416.685895684001</c:v>
                </c:pt>
                <c:pt idx="980">
                  <c:v>40498.623096014002</c:v>
                </c:pt>
                <c:pt idx="981">
                  <c:v>40910.391595041001</c:v>
                </c:pt>
                <c:pt idx="982">
                  <c:v>40706.496600679005</c:v>
                </c:pt>
                <c:pt idx="983">
                  <c:v>41115.852320413003</c:v>
                </c:pt>
                <c:pt idx="984">
                  <c:v>41558.670652691006</c:v>
                </c:pt>
                <c:pt idx="985">
                  <c:v>41641.722544127995</c:v>
                </c:pt>
                <c:pt idx="986">
                  <c:v>41362.598764573006</c:v>
                </c:pt>
                <c:pt idx="987">
                  <c:v>41061.692393477999</c:v>
                </c:pt>
                <c:pt idx="988">
                  <c:v>41686.436073849996</c:v>
                </c:pt>
                <c:pt idx="989">
                  <c:v>42065.669228006998</c:v>
                </c:pt>
                <c:pt idx="990">
                  <c:v>41425.041497644997</c:v>
                </c:pt>
                <c:pt idx="991">
                  <c:v>41273.013106452003</c:v>
                </c:pt>
                <c:pt idx="992">
                  <c:v>40931.031032725004</c:v>
                </c:pt>
                <c:pt idx="993">
                  <c:v>40680.530846843001</c:v>
                </c:pt>
                <c:pt idx="994">
                  <c:v>40899.331630391003</c:v>
                </c:pt>
                <c:pt idx="995">
                  <c:v>41035.888909361005</c:v>
                </c:pt>
                <c:pt idx="996">
                  <c:v>40608.230602778996</c:v>
                </c:pt>
                <c:pt idx="997">
                  <c:v>40882.888953911999</c:v>
                </c:pt>
                <c:pt idx="998">
                  <c:v>40673.819452424003</c:v>
                </c:pt>
                <c:pt idx="999">
                  <c:v>40577.137700311003</c:v>
                </c:pt>
                <c:pt idx="1000">
                  <c:v>41313.351489666995</c:v>
                </c:pt>
                <c:pt idx="1001">
                  <c:v>41445.882962470998</c:v>
                </c:pt>
                <c:pt idx="1002">
                  <c:v>41476.565418117003</c:v>
                </c:pt>
                <c:pt idx="1003">
                  <c:v>41521.246855402002</c:v>
                </c:pt>
                <c:pt idx="1004">
                  <c:v>41784.327772908997</c:v>
                </c:pt>
                <c:pt idx="1005">
                  <c:v>41042.584493691007</c:v>
                </c:pt>
                <c:pt idx="1006">
                  <c:v>40616.624258226002</c:v>
                </c:pt>
                <c:pt idx="1007">
                  <c:v>40340.320995330003</c:v>
                </c:pt>
                <c:pt idx="1008">
                  <c:v>40304.063536632006</c:v>
                </c:pt>
                <c:pt idx="1009">
                  <c:v>40146.294787554005</c:v>
                </c:pt>
                <c:pt idx="1010">
                  <c:v>40475.178026034999</c:v>
                </c:pt>
                <c:pt idx="1011">
                  <c:v>40951.248428048006</c:v>
                </c:pt>
                <c:pt idx="1012">
                  <c:v>40839.042855744992</c:v>
                </c:pt>
                <c:pt idx="1013">
                  <c:v>41644.716526473007</c:v>
                </c:pt>
                <c:pt idx="1014">
                  <c:v>40898.362115420001</c:v>
                </c:pt>
                <c:pt idx="1015">
                  <c:v>41325.661064276996</c:v>
                </c:pt>
                <c:pt idx="1016">
                  <c:v>40429.849375373</c:v>
                </c:pt>
                <c:pt idx="1017">
                  <c:v>39882.982571030007</c:v>
                </c:pt>
                <c:pt idx="1018">
                  <c:v>39661.762670412994</c:v>
                </c:pt>
                <c:pt idx="1019">
                  <c:v>39137.134603578001</c:v>
                </c:pt>
                <c:pt idx="1020">
                  <c:v>38893.726921898</c:v>
                </c:pt>
                <c:pt idx="1021">
                  <c:v>38516.466844082002</c:v>
                </c:pt>
                <c:pt idx="1022">
                  <c:v>39690.184453942005</c:v>
                </c:pt>
                <c:pt idx="1023">
                  <c:v>39889.452633469002</c:v>
                </c:pt>
                <c:pt idx="1024">
                  <c:v>40691.043039364005</c:v>
                </c:pt>
                <c:pt idx="1025">
                  <c:v>41014.860237628011</c:v>
                </c:pt>
                <c:pt idx="1026">
                  <c:v>41236.002299152002</c:v>
                </c:pt>
                <c:pt idx="1027">
                  <c:v>41481.791166899005</c:v>
                </c:pt>
                <c:pt idx="1028">
                  <c:v>42002.030069815009</c:v>
                </c:pt>
                <c:pt idx="1029">
                  <c:v>41520.076479192998</c:v>
                </c:pt>
                <c:pt idx="1030">
                  <c:v>42324.514752439005</c:v>
                </c:pt>
                <c:pt idx="1031">
                  <c:v>42522.724999431004</c:v>
                </c:pt>
                <c:pt idx="1032">
                  <c:v>42347.488964486001</c:v>
                </c:pt>
                <c:pt idx="1033">
                  <c:v>43862.608396562006</c:v>
                </c:pt>
                <c:pt idx="1034">
                  <c:v>44829.701051498996</c:v>
                </c:pt>
                <c:pt idx="1035">
                  <c:v>44810.450425618008</c:v>
                </c:pt>
                <c:pt idx="1036">
                  <c:v>44562.025355469996</c:v>
                </c:pt>
                <c:pt idx="1037">
                  <c:v>45287.464010235999</c:v>
                </c:pt>
                <c:pt idx="1038">
                  <c:v>44516.909035168006</c:v>
                </c:pt>
                <c:pt idx="1039">
                  <c:v>44588.716693686001</c:v>
                </c:pt>
                <c:pt idx="1040">
                  <c:v>44796.297095974005</c:v>
                </c:pt>
                <c:pt idx="1041">
                  <c:v>45403.582215518007</c:v>
                </c:pt>
                <c:pt idx="1042">
                  <c:v>45249.20395766</c:v>
                </c:pt>
                <c:pt idx="1043">
                  <c:v>45472.274679601993</c:v>
                </c:pt>
                <c:pt idx="1044">
                  <c:v>45462.003350473002</c:v>
                </c:pt>
                <c:pt idx="1045">
                  <c:v>45650.194418415005</c:v>
                </c:pt>
                <c:pt idx="1046">
                  <c:v>45391.329076037997</c:v>
                </c:pt>
                <c:pt idx="1047">
                  <c:v>45387.008579315996</c:v>
                </c:pt>
                <c:pt idx="1048">
                  <c:v>44885.333287863999</c:v>
                </c:pt>
                <c:pt idx="1049">
                  <c:v>44898.551225937998</c:v>
                </c:pt>
                <c:pt idx="1050">
                  <c:v>45291.683739445994</c:v>
                </c:pt>
                <c:pt idx="1051">
                  <c:v>44707.022161609006</c:v>
                </c:pt>
                <c:pt idx="1052">
                  <c:v>44647.311058329004</c:v>
                </c:pt>
                <c:pt idx="1053">
                  <c:v>45115.661665571999</c:v>
                </c:pt>
                <c:pt idx="1054">
                  <c:v>44777.660838607997</c:v>
                </c:pt>
                <c:pt idx="1055">
                  <c:v>45345.733531405007</c:v>
                </c:pt>
                <c:pt idx="1056">
                  <c:v>44910.304999177999</c:v>
                </c:pt>
                <c:pt idx="1057">
                  <c:v>44844.047656759998</c:v>
                </c:pt>
                <c:pt idx="1058">
                  <c:v>44820.873970628003</c:v>
                </c:pt>
                <c:pt idx="1059">
                  <c:v>44284.115449965</c:v>
                </c:pt>
                <c:pt idx="1060">
                  <c:v>44308.408634510997</c:v>
                </c:pt>
                <c:pt idx="1061">
                  <c:v>44597.284180354996</c:v>
                </c:pt>
                <c:pt idx="1062">
                  <c:v>45846.896340918007</c:v>
                </c:pt>
                <c:pt idx="1063">
                  <c:v>45429.023714527008</c:v>
                </c:pt>
                <c:pt idx="1064">
                  <c:v>45577.721682604999</c:v>
                </c:pt>
                <c:pt idx="1065">
                  <c:v>45577.863263464009</c:v>
                </c:pt>
                <c:pt idx="1066">
                  <c:v>44862.053624749002</c:v>
                </c:pt>
                <c:pt idx="1067">
                  <c:v>44408.801670737994</c:v>
                </c:pt>
                <c:pt idx="1068">
                  <c:v>44532.014166563007</c:v>
                </c:pt>
                <c:pt idx="1069">
                  <c:v>44186.170206426999</c:v>
                </c:pt>
                <c:pt idx="1070">
                  <c:v>44390.619139635004</c:v>
                </c:pt>
                <c:pt idx="1071">
                  <c:v>44356.766850431006</c:v>
                </c:pt>
                <c:pt idx="1072">
                  <c:v>44426.428515543004</c:v>
                </c:pt>
                <c:pt idx="1073">
                  <c:v>43766.329442425005</c:v>
                </c:pt>
                <c:pt idx="1074">
                  <c:v>43935.078188882995</c:v>
                </c:pt>
                <c:pt idx="1075">
                  <c:v>43628.856703655001</c:v>
                </c:pt>
                <c:pt idx="1076">
                  <c:v>43248.312855639997</c:v>
                </c:pt>
                <c:pt idx="1077">
                  <c:v>43819.151267191999</c:v>
                </c:pt>
                <c:pt idx="1078">
                  <c:v>43718.816483659997</c:v>
                </c:pt>
                <c:pt idx="1079">
                  <c:v>43747.631756790004</c:v>
                </c:pt>
                <c:pt idx="1080">
                  <c:v>44034.321843721998</c:v>
                </c:pt>
                <c:pt idx="1081">
                  <c:v>44288.554072947998</c:v>
                </c:pt>
                <c:pt idx="1082">
                  <c:v>43601.798483811006</c:v>
                </c:pt>
                <c:pt idx="1083">
                  <c:v>43594.096791667995</c:v>
                </c:pt>
                <c:pt idx="1084">
                  <c:v>43766.528145167002</c:v>
                </c:pt>
                <c:pt idx="1085">
                  <c:v>44534.061091598</c:v>
                </c:pt>
                <c:pt idx="1086">
                  <c:v>45077.948693940001</c:v>
                </c:pt>
                <c:pt idx="1087">
                  <c:v>44994.843784454999</c:v>
                </c:pt>
                <c:pt idx="1088">
                  <c:v>45878.631338166</c:v>
                </c:pt>
                <c:pt idx="1089">
                  <c:v>46118.837271106997</c:v>
                </c:pt>
                <c:pt idx="1090">
                  <c:v>45119.152887523</c:v>
                </c:pt>
                <c:pt idx="1091">
                  <c:v>45423.812035148003</c:v>
                </c:pt>
                <c:pt idx="1092">
                  <c:v>45552.231932920004</c:v>
                </c:pt>
                <c:pt idx="1093">
                  <c:v>45808.768069925005</c:v>
                </c:pt>
                <c:pt idx="1094">
                  <c:v>46916.88009662</c:v>
                </c:pt>
                <c:pt idx="1095">
                  <c:v>46632.606851432</c:v>
                </c:pt>
                <c:pt idx="1096">
                  <c:v>46607.123514575003</c:v>
                </c:pt>
                <c:pt idx="1097">
                  <c:v>46866.402990189003</c:v>
                </c:pt>
                <c:pt idx="1098">
                  <c:v>48304.341847022006</c:v>
                </c:pt>
                <c:pt idx="1099">
                  <c:v>48013.335336306998</c:v>
                </c:pt>
                <c:pt idx="1100">
                  <c:v>47731.886881021994</c:v>
                </c:pt>
                <c:pt idx="1101">
                  <c:v>54108.235882392997</c:v>
                </c:pt>
                <c:pt idx="1102">
                  <c:v>54161.105026342004</c:v>
                </c:pt>
                <c:pt idx="1103">
                  <c:v>54401.664358582006</c:v>
                </c:pt>
                <c:pt idx="1104">
                  <c:v>54839.542963802007</c:v>
                </c:pt>
                <c:pt idx="1105">
                  <c:v>55270.551959722005</c:v>
                </c:pt>
                <c:pt idx="1106">
                  <c:v>55197.326500337011</c:v>
                </c:pt>
                <c:pt idx="1107">
                  <c:v>55605.573750406998</c:v>
                </c:pt>
                <c:pt idx="1108">
                  <c:v>55208.508320146</c:v>
                </c:pt>
                <c:pt idx="1109">
                  <c:v>55363.698826261003</c:v>
                </c:pt>
                <c:pt idx="1110">
                  <c:v>55576.812556277007</c:v>
                </c:pt>
                <c:pt idx="1111">
                  <c:v>55012.176725682999</c:v>
                </c:pt>
                <c:pt idx="1112">
                  <c:v>54646.212994419999</c:v>
                </c:pt>
                <c:pt idx="1113">
                  <c:v>54089.316738832</c:v>
                </c:pt>
                <c:pt idx="1114">
                  <c:v>53971.240932882996</c:v>
                </c:pt>
                <c:pt idx="1115">
                  <c:v>54191.340502965009</c:v>
                </c:pt>
                <c:pt idx="1116">
                  <c:v>54965.292913922051</c:v>
                </c:pt>
                <c:pt idx="1117">
                  <c:v>55553.793659758521</c:v>
                </c:pt>
                <c:pt idx="1118">
                  <c:v>55472.832431607705</c:v>
                </c:pt>
                <c:pt idx="1119">
                  <c:v>55315.965950219448</c:v>
                </c:pt>
                <c:pt idx="1120">
                  <c:v>56076.234149320488</c:v>
                </c:pt>
                <c:pt idx="1121">
                  <c:v>56266.890307091096</c:v>
                </c:pt>
                <c:pt idx="1122">
                  <c:v>56533.434038930587</c:v>
                </c:pt>
                <c:pt idx="1123">
                  <c:v>55795.619368547581</c:v>
                </c:pt>
                <c:pt idx="1124">
                  <c:v>56772.22155291331</c:v>
                </c:pt>
                <c:pt idx="1125">
                  <c:v>56284.298767281034</c:v>
                </c:pt>
                <c:pt idx="1126">
                  <c:v>56315.245861672076</c:v>
                </c:pt>
                <c:pt idx="1127">
                  <c:v>55963.617589543908</c:v>
                </c:pt>
                <c:pt idx="1128">
                  <c:v>56143.465424831942</c:v>
                </c:pt>
                <c:pt idx="1129">
                  <c:v>56125.467244189858</c:v>
                </c:pt>
                <c:pt idx="1130">
                  <c:v>56929.258300492489</c:v>
                </c:pt>
                <c:pt idx="1131">
                  <c:v>57107.156719855491</c:v>
                </c:pt>
                <c:pt idx="1132">
                  <c:v>57144.547690818697</c:v>
                </c:pt>
                <c:pt idx="1133">
                  <c:v>56895.570775917033</c:v>
                </c:pt>
                <c:pt idx="1134">
                  <c:v>56950.019527806035</c:v>
                </c:pt>
                <c:pt idx="1135">
                  <c:v>56702.529302619274</c:v>
                </c:pt>
                <c:pt idx="1136">
                  <c:v>56649.814588394329</c:v>
                </c:pt>
                <c:pt idx="1137">
                  <c:v>56424.031892192172</c:v>
                </c:pt>
                <c:pt idx="1138">
                  <c:v>56792.220092588846</c:v>
                </c:pt>
                <c:pt idx="1139">
                  <c:v>56544.571701657405</c:v>
                </c:pt>
                <c:pt idx="1140">
                  <c:v>56720.68873029064</c:v>
                </c:pt>
                <c:pt idx="1141">
                  <c:v>57519.869259306724</c:v>
                </c:pt>
                <c:pt idx="1142">
                  <c:v>57764.368560996387</c:v>
                </c:pt>
                <c:pt idx="1143">
                  <c:v>57713.607526368658</c:v>
                </c:pt>
                <c:pt idx="1144">
                  <c:v>57829.078027019787</c:v>
                </c:pt>
                <c:pt idx="1145">
                  <c:v>57690.438549058461</c:v>
                </c:pt>
                <c:pt idx="1146">
                  <c:v>57145.609513175361</c:v>
                </c:pt>
                <c:pt idx="1147">
                  <c:v>56641.959874668464</c:v>
                </c:pt>
                <c:pt idx="1148">
                  <c:v>56198.68456031369</c:v>
                </c:pt>
                <c:pt idx="1149">
                  <c:v>56913.798151377137</c:v>
                </c:pt>
                <c:pt idx="1150">
                  <c:v>56822.515899392609</c:v>
                </c:pt>
                <c:pt idx="1151">
                  <c:v>56696.360784996694</c:v>
                </c:pt>
                <c:pt idx="1152">
                  <c:v>57151.953869646437</c:v>
                </c:pt>
                <c:pt idx="1153">
                  <c:v>57136.18586940469</c:v>
                </c:pt>
                <c:pt idx="1154">
                  <c:v>57362.432864065595</c:v>
                </c:pt>
                <c:pt idx="1155">
                  <c:v>57112.621456168112</c:v>
                </c:pt>
                <c:pt idx="1156">
                  <c:v>57244.868902444068</c:v>
                </c:pt>
                <c:pt idx="1157">
                  <c:v>57171.533163746244</c:v>
                </c:pt>
                <c:pt idx="1158">
                  <c:v>60409.184196733542</c:v>
                </c:pt>
                <c:pt idx="1159">
                  <c:v>59822.626419002416</c:v>
                </c:pt>
                <c:pt idx="1160">
                  <c:v>60108.949563420196</c:v>
                </c:pt>
                <c:pt idx="1161">
                  <c:v>59659.574321846521</c:v>
                </c:pt>
                <c:pt idx="1162">
                  <c:v>58747.026322222948</c:v>
                </c:pt>
                <c:pt idx="1163">
                  <c:v>59073.112795967972</c:v>
                </c:pt>
                <c:pt idx="1164">
                  <c:v>59137.357049339917</c:v>
                </c:pt>
                <c:pt idx="1165">
                  <c:v>58759.060927668455</c:v>
                </c:pt>
                <c:pt idx="1166">
                  <c:v>58856.88536519168</c:v>
                </c:pt>
                <c:pt idx="1167">
                  <c:v>59081.106906081681</c:v>
                </c:pt>
                <c:pt idx="1168">
                  <c:v>59070.508392290554</c:v>
                </c:pt>
                <c:pt idx="1169">
                  <c:v>59023.547421507901</c:v>
                </c:pt>
                <c:pt idx="1170">
                  <c:v>59253.616645934308</c:v>
                </c:pt>
                <c:pt idx="1171">
                  <c:v>58762.320022934153</c:v>
                </c:pt>
                <c:pt idx="1172">
                  <c:v>58933.218794944594</c:v>
                </c:pt>
                <c:pt idx="1173">
                  <c:v>59953.773226574893</c:v>
                </c:pt>
                <c:pt idx="1174">
                  <c:v>60344.657166658893</c:v>
                </c:pt>
                <c:pt idx="1175">
                  <c:v>61212.308816399753</c:v>
                </c:pt>
                <c:pt idx="1176">
                  <c:v>61046.912236696109</c:v>
                </c:pt>
                <c:pt idx="1177">
                  <c:v>61580.376761598462</c:v>
                </c:pt>
                <c:pt idx="1178">
                  <c:v>61848.140754390144</c:v>
                </c:pt>
                <c:pt idx="1179">
                  <c:v>62081.026975469904</c:v>
                </c:pt>
                <c:pt idx="1180">
                  <c:v>63137.09423665511</c:v>
                </c:pt>
                <c:pt idx="1181">
                  <c:v>63967.299851612173</c:v>
                </c:pt>
                <c:pt idx="1182">
                  <c:v>64274.032512462276</c:v>
                </c:pt>
                <c:pt idx="1183">
                  <c:v>63748.675284904355</c:v>
                </c:pt>
                <c:pt idx="1184">
                  <c:v>64041.496162091593</c:v>
                </c:pt>
                <c:pt idx="1185">
                  <c:v>64241.852396866874</c:v>
                </c:pt>
                <c:pt idx="1186">
                  <c:v>63737.155853983211</c:v>
                </c:pt>
                <c:pt idx="1187">
                  <c:v>64213.984577846568</c:v>
                </c:pt>
                <c:pt idx="1188">
                  <c:v>63589.353480504476</c:v>
                </c:pt>
                <c:pt idx="1189">
                  <c:v>62901.861268066197</c:v>
                </c:pt>
                <c:pt idx="1190">
                  <c:v>62630.569439841966</c:v>
                </c:pt>
                <c:pt idx="1191">
                  <c:v>62225.916920002863</c:v>
                </c:pt>
                <c:pt idx="1192">
                  <c:v>62146.077221300504</c:v>
                </c:pt>
                <c:pt idx="1193">
                  <c:v>61954.094643184893</c:v>
                </c:pt>
                <c:pt idx="1194">
                  <c:v>61285.525847665514</c:v>
                </c:pt>
                <c:pt idx="1195">
                  <c:v>61637.284440823038</c:v>
                </c:pt>
                <c:pt idx="1196">
                  <c:v>61408.220230311526</c:v>
                </c:pt>
                <c:pt idx="1197">
                  <c:v>62011.747433436052</c:v>
                </c:pt>
                <c:pt idx="1198">
                  <c:v>60803.451669381146</c:v>
                </c:pt>
                <c:pt idx="1199">
                  <c:v>62167.916960695686</c:v>
                </c:pt>
                <c:pt idx="1200">
                  <c:v>61770.443436156522</c:v>
                </c:pt>
                <c:pt idx="1201">
                  <c:v>61507.794927388946</c:v>
                </c:pt>
                <c:pt idx="1202">
                  <c:v>61380.90849242104</c:v>
                </c:pt>
                <c:pt idx="1203">
                  <c:v>61896.845464946564</c:v>
                </c:pt>
                <c:pt idx="1204">
                  <c:v>62243.340458481573</c:v>
                </c:pt>
                <c:pt idx="1205">
                  <c:v>62305.134765270326</c:v>
                </c:pt>
                <c:pt idx="1206">
                  <c:v>62145.435834347889</c:v>
                </c:pt>
                <c:pt idx="1207">
                  <c:v>62627.991289005709</c:v>
                </c:pt>
                <c:pt idx="1208">
                  <c:v>62759.807061044688</c:v>
                </c:pt>
                <c:pt idx="1209">
                  <c:v>63523.632374161651</c:v>
                </c:pt>
                <c:pt idx="1210">
                  <c:v>64150.246947805259</c:v>
                </c:pt>
                <c:pt idx="1211">
                  <c:v>63822.650937131832</c:v>
                </c:pt>
                <c:pt idx="1212">
                  <c:v>63932.090126861272</c:v>
                </c:pt>
                <c:pt idx="1213">
                  <c:v>64776.21180322743</c:v>
                </c:pt>
                <c:pt idx="1214">
                  <c:v>64775.71169177501</c:v>
                </c:pt>
                <c:pt idx="1215">
                  <c:v>65411.065505807754</c:v>
                </c:pt>
                <c:pt idx="1216">
                  <c:v>66110.953483129881</c:v>
                </c:pt>
                <c:pt idx="1217">
                  <c:v>66299.309685539454</c:v>
                </c:pt>
                <c:pt idx="1218">
                  <c:v>66097.086852115928</c:v>
                </c:pt>
                <c:pt idx="1219">
                  <c:v>65773.219768475334</c:v>
                </c:pt>
                <c:pt idx="1220">
                  <c:v>64505.715003841484</c:v>
                </c:pt>
                <c:pt idx="1221">
                  <c:v>64681.484864518599</c:v>
                </c:pt>
                <c:pt idx="1222">
                  <c:v>64540.963982391811</c:v>
                </c:pt>
                <c:pt idx="1223">
                  <c:v>64734.552513617207</c:v>
                </c:pt>
                <c:pt idx="1224">
                  <c:v>64309.149172063349</c:v>
                </c:pt>
                <c:pt idx="1225">
                  <c:v>64071.694295004403</c:v>
                </c:pt>
                <c:pt idx="1226">
                  <c:v>63412.216313581026</c:v>
                </c:pt>
                <c:pt idx="1227">
                  <c:v>62977.738993657564</c:v>
                </c:pt>
                <c:pt idx="1228">
                  <c:v>62589.710370325105</c:v>
                </c:pt>
                <c:pt idx="1229">
                  <c:v>64279.152226875674</c:v>
                </c:pt>
                <c:pt idx="1230">
                  <c:v>64533.692184216714</c:v>
                </c:pt>
                <c:pt idx="1231">
                  <c:v>64301.213406616705</c:v>
                </c:pt>
                <c:pt idx="1232">
                  <c:v>64309.18831172261</c:v>
                </c:pt>
                <c:pt idx="1233">
                  <c:v>65160.754143860278</c:v>
                </c:pt>
                <c:pt idx="1234">
                  <c:v>65807.999491470866</c:v>
                </c:pt>
                <c:pt idx="1235">
                  <c:v>66718.981683131453</c:v>
                </c:pt>
                <c:pt idx="1236">
                  <c:v>66739.212413829126</c:v>
                </c:pt>
                <c:pt idx="1237">
                  <c:v>67079.641838452881</c:v>
                </c:pt>
                <c:pt idx="1238">
                  <c:v>67173.089561483779</c:v>
                </c:pt>
                <c:pt idx="1239">
                  <c:v>69117.369925400766</c:v>
                </c:pt>
                <c:pt idx="1240">
                  <c:v>68023.691263480505</c:v>
                </c:pt>
                <c:pt idx="1241">
                  <c:v>66954.662835629671</c:v>
                </c:pt>
                <c:pt idx="1242">
                  <c:v>66525.515065944288</c:v>
                </c:pt>
                <c:pt idx="1243">
                  <c:v>67187.763176545675</c:v>
                </c:pt>
                <c:pt idx="1244">
                  <c:v>67006.307995026596</c:v>
                </c:pt>
                <c:pt idx="1245">
                  <c:v>67569.023738224685</c:v>
                </c:pt>
                <c:pt idx="1246">
                  <c:v>68317.238014170274</c:v>
                </c:pt>
                <c:pt idx="1247">
                  <c:v>68150.035627946287</c:v>
                </c:pt>
                <c:pt idx="1248">
                  <c:v>68094.706624049199</c:v>
                </c:pt>
                <c:pt idx="1249">
                  <c:v>67991.399026253508</c:v>
                </c:pt>
                <c:pt idx="1250">
                  <c:v>68172.56101588934</c:v>
                </c:pt>
                <c:pt idx="1251">
                  <c:v>68596.776063063007</c:v>
                </c:pt>
                <c:pt idx="1252">
                  <c:v>69401.504897650506</c:v>
                </c:pt>
                <c:pt idx="1253">
                  <c:v>68655.559870193567</c:v>
                </c:pt>
                <c:pt idx="1254">
                  <c:v>70232.693612499439</c:v>
                </c:pt>
                <c:pt idx="1255">
                  <c:v>68319.261048494664</c:v>
                </c:pt>
                <c:pt idx="1256">
                  <c:v>67199.414108638506</c:v>
                </c:pt>
                <c:pt idx="1257">
                  <c:v>68201.002811966217</c:v>
                </c:pt>
                <c:pt idx="1258">
                  <c:v>68479.369552853226</c:v>
                </c:pt>
                <c:pt idx="1259">
                  <c:v>69269.538386127315</c:v>
                </c:pt>
                <c:pt idx="1260">
                  <c:v>68720.180569780379</c:v>
                </c:pt>
                <c:pt idx="1261">
                  <c:v>68843.764532928471</c:v>
                </c:pt>
                <c:pt idx="1262">
                  <c:v>69282.466904401852</c:v>
                </c:pt>
                <c:pt idx="1263">
                  <c:v>70046.50617790813</c:v>
                </c:pt>
                <c:pt idx="1264">
                  <c:v>71201.282409638559</c:v>
                </c:pt>
                <c:pt idx="1265">
                  <c:v>71290.0195344612</c:v>
                </c:pt>
                <c:pt idx="1266">
                  <c:v>72050.870698246566</c:v>
                </c:pt>
                <c:pt idx="1267">
                  <c:v>72187.457909196979</c:v>
                </c:pt>
                <c:pt idx="1268">
                  <c:v>72800.282296754274</c:v>
                </c:pt>
                <c:pt idx="1269">
                  <c:v>73485.333788049436</c:v>
                </c:pt>
                <c:pt idx="1270">
                  <c:v>73917.076313697558</c:v>
                </c:pt>
                <c:pt idx="1271">
                  <c:v>73223.678322731968</c:v>
                </c:pt>
                <c:pt idx="1272">
                  <c:v>73255.984247108456</c:v>
                </c:pt>
                <c:pt idx="1273">
                  <c:v>71777.064091604218</c:v>
                </c:pt>
                <c:pt idx="1274">
                  <c:v>69884.102906756525</c:v>
                </c:pt>
                <c:pt idx="1275">
                  <c:v>70359.509123054406</c:v>
                </c:pt>
                <c:pt idx="1276">
                  <c:v>70896.850644259466</c:v>
                </c:pt>
                <c:pt idx="1277">
                  <c:v>71446.286449292209</c:v>
                </c:pt>
                <c:pt idx="1278">
                  <c:v>71228.768614729241</c:v>
                </c:pt>
                <c:pt idx="1279">
                  <c:v>71039.64943773346</c:v>
                </c:pt>
                <c:pt idx="1280">
                  <c:v>71256.489496095397</c:v>
                </c:pt>
                <c:pt idx="1281">
                  <c:v>71161.807547059274</c:v>
                </c:pt>
                <c:pt idx="1282">
                  <c:v>71935.292467936713</c:v>
                </c:pt>
                <c:pt idx="1283">
                  <c:v>72034.610848946599</c:v>
                </c:pt>
                <c:pt idx="1284">
                  <c:v>73172.560906659113</c:v>
                </c:pt>
                <c:pt idx="1285">
                  <c:v>72529.78277549491</c:v>
                </c:pt>
                <c:pt idx="1286">
                  <c:v>73018.807671521427</c:v>
                </c:pt>
                <c:pt idx="1287">
                  <c:v>73192.076361169835</c:v>
                </c:pt>
                <c:pt idx="1288">
                  <c:v>73007.378775780904</c:v>
                </c:pt>
                <c:pt idx="1289">
                  <c:v>73557.166150239689</c:v>
                </c:pt>
                <c:pt idx="1290">
                  <c:v>73444.803962005331</c:v>
                </c:pt>
                <c:pt idx="1291">
                  <c:v>74025.675910383536</c:v>
                </c:pt>
                <c:pt idx="1292">
                  <c:v>74584.417619781176</c:v>
                </c:pt>
                <c:pt idx="1293">
                  <c:v>73863.394603478315</c:v>
                </c:pt>
                <c:pt idx="1294">
                  <c:v>73858.566029610753</c:v>
                </c:pt>
                <c:pt idx="1295">
                  <c:v>73941.154485996958</c:v>
                </c:pt>
                <c:pt idx="1296">
                  <c:v>73394.483251940925</c:v>
                </c:pt>
                <c:pt idx="1297">
                  <c:v>73214.411802513452</c:v>
                </c:pt>
                <c:pt idx="1298">
                  <c:v>74011.537249980101</c:v>
                </c:pt>
                <c:pt idx="1299">
                  <c:v>75032.110993462178</c:v>
                </c:pt>
                <c:pt idx="1300">
                  <c:v>74950.765218746441</c:v>
                </c:pt>
                <c:pt idx="1301">
                  <c:v>74168.085626081898</c:v>
                </c:pt>
                <c:pt idx="1302">
                  <c:v>74346.11587954167</c:v>
                </c:pt>
                <c:pt idx="1303">
                  <c:v>74126.06188922211</c:v>
                </c:pt>
                <c:pt idx="1304">
                  <c:v>74182.400261278905</c:v>
                </c:pt>
                <c:pt idx="1305">
                  <c:v>73829.643536622199</c:v>
                </c:pt>
                <c:pt idx="1306">
                  <c:v>72686.134903359954</c:v>
                </c:pt>
                <c:pt idx="1307">
                  <c:v>73648.553613868877</c:v>
                </c:pt>
                <c:pt idx="1308">
                  <c:v>73890.20083743945</c:v>
                </c:pt>
                <c:pt idx="1309">
                  <c:v>74234.964408862259</c:v>
                </c:pt>
                <c:pt idx="1310">
                  <c:v>74138.321639278263</c:v>
                </c:pt>
                <c:pt idx="1311">
                  <c:v>74455.026994856467</c:v>
                </c:pt>
                <c:pt idx="1312">
                  <c:v>74641.343103881081</c:v>
                </c:pt>
                <c:pt idx="1313">
                  <c:v>73991.622486585286</c:v>
                </c:pt>
                <c:pt idx="1314">
                  <c:v>73150.413219341324</c:v>
                </c:pt>
                <c:pt idx="1315">
                  <c:v>72938.479205639291</c:v>
                </c:pt>
                <c:pt idx="1316">
                  <c:v>74533.319344065763</c:v>
                </c:pt>
                <c:pt idx="1317">
                  <c:v>75410.501684011222</c:v>
                </c:pt>
                <c:pt idx="1318">
                  <c:v>75993.018564820188</c:v>
                </c:pt>
                <c:pt idx="1319">
                  <c:v>75759.001149994685</c:v>
                </c:pt>
                <c:pt idx="1320">
                  <c:v>76136.834755828226</c:v>
                </c:pt>
                <c:pt idx="1321">
                  <c:v>76531.793349204658</c:v>
                </c:pt>
                <c:pt idx="1322">
                  <c:v>75634.36275538418</c:v>
                </c:pt>
                <c:pt idx="1323">
                  <c:v>76111.598159714747</c:v>
                </c:pt>
                <c:pt idx="1324">
                  <c:v>76111.741187602413</c:v>
                </c:pt>
                <c:pt idx="1325">
                  <c:v>76728.240656923765</c:v>
                </c:pt>
                <c:pt idx="1326">
                  <c:v>76041.209642992064</c:v>
                </c:pt>
                <c:pt idx="1327">
                  <c:v>75089.522859289777</c:v>
                </c:pt>
                <c:pt idx="1328">
                  <c:v>74787.459503300095</c:v>
                </c:pt>
                <c:pt idx="1329">
                  <c:v>75671.982962704613</c:v>
                </c:pt>
                <c:pt idx="1330">
                  <c:v>76745.881895670886</c:v>
                </c:pt>
                <c:pt idx="1331">
                  <c:v>77537.112365372304</c:v>
                </c:pt>
                <c:pt idx="1332">
                  <c:v>77395.454125929522</c:v>
                </c:pt>
                <c:pt idx="1333">
                  <c:v>77565.078992773153</c:v>
                </c:pt>
                <c:pt idx="1334">
                  <c:v>76837.023965482033</c:v>
                </c:pt>
                <c:pt idx="1335">
                  <c:v>77691.048236043833</c:v>
                </c:pt>
                <c:pt idx="1336">
                  <c:v>78029.134924512764</c:v>
                </c:pt>
                <c:pt idx="1337">
                  <c:v>77950.499246002859</c:v>
                </c:pt>
                <c:pt idx="1338">
                  <c:v>78378.903045210973</c:v>
                </c:pt>
                <c:pt idx="1339">
                  <c:v>79036.755785876114</c:v>
                </c:pt>
                <c:pt idx="1340">
                  <c:v>78416.868241666394</c:v>
                </c:pt>
                <c:pt idx="1341">
                  <c:v>78013.617411176048</c:v>
                </c:pt>
                <c:pt idx="1342">
                  <c:v>78334.999924844422</c:v>
                </c:pt>
                <c:pt idx="1343">
                  <c:v>77618.656280419455</c:v>
                </c:pt>
                <c:pt idx="1344">
                  <c:v>77527.208858397193</c:v>
                </c:pt>
                <c:pt idx="1345">
                  <c:v>77523.511806439361</c:v>
                </c:pt>
                <c:pt idx="1346">
                  <c:v>82841.641030689003</c:v>
                </c:pt>
                <c:pt idx="1347">
                  <c:v>82845.890992163695</c:v>
                </c:pt>
                <c:pt idx="1348">
                  <c:v>83030.635369958327</c:v>
                </c:pt>
                <c:pt idx="1349">
                  <c:v>82811.711397200677</c:v>
                </c:pt>
                <c:pt idx="1350">
                  <c:v>82811.008978738508</c:v>
                </c:pt>
                <c:pt idx="1351">
                  <c:v>80733.690495828196</c:v>
                </c:pt>
                <c:pt idx="1352">
                  <c:v>78770.289483264365</c:v>
                </c:pt>
                <c:pt idx="1353">
                  <c:v>80476.125202974028</c:v>
                </c:pt>
                <c:pt idx="1354">
                  <c:v>81521.472791055203</c:v>
                </c:pt>
                <c:pt idx="1355">
                  <c:v>81515.771542371716</c:v>
                </c:pt>
                <c:pt idx="1356">
                  <c:v>81362.523042967019</c:v>
                </c:pt>
                <c:pt idx="1357">
                  <c:v>80988.136642073587</c:v>
                </c:pt>
                <c:pt idx="1358">
                  <c:v>80906.511128213373</c:v>
                </c:pt>
                <c:pt idx="1359">
                  <c:v>81011.153955063506</c:v>
                </c:pt>
                <c:pt idx="1360">
                  <c:v>81415.276699641719</c:v>
                </c:pt>
                <c:pt idx="1361">
                  <c:v>82041.534916965742</c:v>
                </c:pt>
                <c:pt idx="1362">
                  <c:v>81825.761324346386</c:v>
                </c:pt>
                <c:pt idx="1363">
                  <c:v>82072.422103571356</c:v>
                </c:pt>
                <c:pt idx="1364">
                  <c:v>81745.146805608776</c:v>
                </c:pt>
                <c:pt idx="1365">
                  <c:v>82117.084512626156</c:v>
                </c:pt>
                <c:pt idx="1366">
                  <c:v>81686.811669144532</c:v>
                </c:pt>
                <c:pt idx="1367">
                  <c:v>81771.195587026261</c:v>
                </c:pt>
                <c:pt idx="1368">
                  <c:v>82020.295627596046</c:v>
                </c:pt>
                <c:pt idx="1369">
                  <c:v>81806.37790885735</c:v>
                </c:pt>
                <c:pt idx="1370">
                  <c:v>81330.427637870162</c:v>
                </c:pt>
                <c:pt idx="1371">
                  <c:v>81575.024611534987</c:v>
                </c:pt>
                <c:pt idx="1372">
                  <c:v>81181.779297605477</c:v>
                </c:pt>
                <c:pt idx="1373">
                  <c:v>80587.026489592245</c:v>
                </c:pt>
                <c:pt idx="1374">
                  <c:v>80900.02999825131</c:v>
                </c:pt>
                <c:pt idx="1375">
                  <c:v>80627.445372257149</c:v>
                </c:pt>
                <c:pt idx="1376">
                  <c:v>80402.861627527396</c:v>
                </c:pt>
                <c:pt idx="1377">
                  <c:v>80252.39391404466</c:v>
                </c:pt>
                <c:pt idx="1378">
                  <c:v>80097.637911272381</c:v>
                </c:pt>
                <c:pt idx="1379">
                  <c:v>80110.56749910627</c:v>
                </c:pt>
                <c:pt idx="1380">
                  <c:v>80474.393139112071</c:v>
                </c:pt>
                <c:pt idx="1381">
                  <c:v>80058.904710297313</c:v>
                </c:pt>
                <c:pt idx="1382">
                  <c:v>80201.363041574514</c:v>
                </c:pt>
                <c:pt idx="1383">
                  <c:v>80244.502826732583</c:v>
                </c:pt>
                <c:pt idx="1384">
                  <c:v>80356.942420573716</c:v>
                </c:pt>
                <c:pt idx="1385">
                  <c:v>79492.175934705476</c:v>
                </c:pt>
                <c:pt idx="1386">
                  <c:v>78698.584311091428</c:v>
                </c:pt>
                <c:pt idx="1387">
                  <c:v>80076.672910274865</c:v>
                </c:pt>
                <c:pt idx="1388">
                  <c:v>79672.98839979386</c:v>
                </c:pt>
                <c:pt idx="1389">
                  <c:v>79431.549689211563</c:v>
                </c:pt>
                <c:pt idx="1390">
                  <c:v>78260.316776187057</c:v>
                </c:pt>
                <c:pt idx="1391">
                  <c:v>78442.630799013787</c:v>
                </c:pt>
                <c:pt idx="1392">
                  <c:v>77511.231481458264</c:v>
                </c:pt>
                <c:pt idx="1393">
                  <c:v>76107.258494543174</c:v>
                </c:pt>
                <c:pt idx="1394">
                  <c:v>77002.431757506609</c:v>
                </c:pt>
                <c:pt idx="1395">
                  <c:v>76938.707894850959</c:v>
                </c:pt>
                <c:pt idx="1396">
                  <c:v>76534.004425213207</c:v>
                </c:pt>
                <c:pt idx="1397">
                  <c:v>76155.179445455942</c:v>
                </c:pt>
                <c:pt idx="1398">
                  <c:v>75876.772999236928</c:v>
                </c:pt>
                <c:pt idx="1399">
                  <c:v>75528.397991018835</c:v>
                </c:pt>
                <c:pt idx="1400">
                  <c:v>77429.363795404002</c:v>
                </c:pt>
                <c:pt idx="1401">
                  <c:v>76933.770947780518</c:v>
                </c:pt>
                <c:pt idx="1402">
                  <c:v>76506.922520220469</c:v>
                </c:pt>
                <c:pt idx="1403">
                  <c:v>75134.945874154088</c:v>
                </c:pt>
                <c:pt idx="1404">
                  <c:v>76416.083947616236</c:v>
                </c:pt>
                <c:pt idx="1405">
                  <c:v>76816.837486818622</c:v>
                </c:pt>
                <c:pt idx="1406">
                  <c:v>78109.3874910343</c:v>
                </c:pt>
                <c:pt idx="1407">
                  <c:v>76809.508654176621</c:v>
                </c:pt>
                <c:pt idx="1408">
                  <c:v>76924.592579090284</c:v>
                </c:pt>
                <c:pt idx="1409">
                  <c:v>76624.264118685882</c:v>
                </c:pt>
                <c:pt idx="1410">
                  <c:v>76271.825399494352</c:v>
                </c:pt>
                <c:pt idx="1411">
                  <c:v>76773.045796086735</c:v>
                </c:pt>
                <c:pt idx="1412">
                  <c:v>77052.820511066791</c:v>
                </c:pt>
                <c:pt idx="1413">
                  <c:v>76888.430848732154</c:v>
                </c:pt>
                <c:pt idx="1414">
                  <c:v>76171.123163821147</c:v>
                </c:pt>
                <c:pt idx="1415">
                  <c:v>76032.861203656459</c:v>
                </c:pt>
                <c:pt idx="1416">
                  <c:v>75939.329242613152</c:v>
                </c:pt>
                <c:pt idx="1417">
                  <c:v>76292.912722764406</c:v>
                </c:pt>
                <c:pt idx="1418">
                  <c:v>77298.747677448511</c:v>
                </c:pt>
                <c:pt idx="1419">
                  <c:v>77399.033794355782</c:v>
                </c:pt>
                <c:pt idx="1420">
                  <c:v>77206.196227490233</c:v>
                </c:pt>
                <c:pt idx="1421">
                  <c:v>76915.644526327014</c:v>
                </c:pt>
                <c:pt idx="1422">
                  <c:v>77752.878151358469</c:v>
                </c:pt>
                <c:pt idx="1423">
                  <c:v>77014.55045462928</c:v>
                </c:pt>
                <c:pt idx="1424">
                  <c:v>76994.022353113163</c:v>
                </c:pt>
                <c:pt idx="1425">
                  <c:v>77020.276465746763</c:v>
                </c:pt>
                <c:pt idx="1426">
                  <c:v>77969.637448555484</c:v>
                </c:pt>
                <c:pt idx="1427">
                  <c:v>78328.694671751495</c:v>
                </c:pt>
                <c:pt idx="1428">
                  <c:v>77348.453420769554</c:v>
                </c:pt>
                <c:pt idx="1429">
                  <c:v>76488.432232922598</c:v>
                </c:pt>
                <c:pt idx="1430">
                  <c:v>76467.829899981822</c:v>
                </c:pt>
                <c:pt idx="1431">
                  <c:v>76647.246767451026</c:v>
                </c:pt>
                <c:pt idx="1432">
                  <c:v>76858.033991368749</c:v>
                </c:pt>
                <c:pt idx="1433">
                  <c:v>76396.62552068416</c:v>
                </c:pt>
                <c:pt idx="1434">
                  <c:v>76305.88167662466</c:v>
                </c:pt>
                <c:pt idx="1435">
                  <c:v>76314.329360017815</c:v>
                </c:pt>
                <c:pt idx="1436">
                  <c:v>76243.047018081576</c:v>
                </c:pt>
                <c:pt idx="1437">
                  <c:v>76231.42992291681</c:v>
                </c:pt>
                <c:pt idx="1438">
                  <c:v>77278.799401212949</c:v>
                </c:pt>
                <c:pt idx="1439">
                  <c:v>78957.655370783163</c:v>
                </c:pt>
                <c:pt idx="1440">
                  <c:v>78592.449839474299</c:v>
                </c:pt>
                <c:pt idx="1441">
                  <c:v>78655.517478516049</c:v>
                </c:pt>
                <c:pt idx="1442">
                  <c:v>77583.7021951028</c:v>
                </c:pt>
                <c:pt idx="1443">
                  <c:v>77368.435777241684</c:v>
                </c:pt>
                <c:pt idx="1444">
                  <c:v>76357.151330535242</c:v>
                </c:pt>
                <c:pt idx="1445">
                  <c:v>76208.105816975061</c:v>
                </c:pt>
                <c:pt idx="1446">
                  <c:v>75969.340215542732</c:v>
                </c:pt>
                <c:pt idx="1447">
                  <c:v>75004.944292273547</c:v>
                </c:pt>
                <c:pt idx="1448">
                  <c:v>74994.70573321759</c:v>
                </c:pt>
                <c:pt idx="1449">
                  <c:v>75167.588251967623</c:v>
                </c:pt>
                <c:pt idx="1450">
                  <c:v>75944.379141068435</c:v>
                </c:pt>
                <c:pt idx="1451">
                  <c:v>76227.505807636902</c:v>
                </c:pt>
                <c:pt idx="1452">
                  <c:v>76148.354956830546</c:v>
                </c:pt>
                <c:pt idx="1453">
                  <c:v>76029.406724802437</c:v>
                </c:pt>
                <c:pt idx="1454">
                  <c:v>76220.84352434006</c:v>
                </c:pt>
                <c:pt idx="1455">
                  <c:v>76212.526259214093</c:v>
                </c:pt>
                <c:pt idx="1456">
                  <c:v>76316.801745763427</c:v>
                </c:pt>
                <c:pt idx="1457">
                  <c:v>76328.577372304557</c:v>
                </c:pt>
                <c:pt idx="1458">
                  <c:v>76718.066367713807</c:v>
                </c:pt>
                <c:pt idx="1459">
                  <c:v>77234.326282750902</c:v>
                </c:pt>
                <c:pt idx="1460">
                  <c:v>76711.488334664537</c:v>
                </c:pt>
                <c:pt idx="1461">
                  <c:v>77032.825620846183</c:v>
                </c:pt>
                <c:pt idx="1462">
                  <c:v>76547.440229950691</c:v>
                </c:pt>
                <c:pt idx="1463">
                  <c:v>76175.348269173628</c:v>
                </c:pt>
                <c:pt idx="1464">
                  <c:v>76012.044674986784</c:v>
                </c:pt>
                <c:pt idx="1465">
                  <c:v>75435.671626824245</c:v>
                </c:pt>
                <c:pt idx="1466">
                  <c:v>76017.590421699468</c:v>
                </c:pt>
                <c:pt idx="1467">
                  <c:v>76454.231314665536</c:v>
                </c:pt>
                <c:pt idx="1468">
                  <c:v>76546.988799163912</c:v>
                </c:pt>
                <c:pt idx="1469">
                  <c:v>76880.490994596839</c:v>
                </c:pt>
                <c:pt idx="1470">
                  <c:v>76152.021069376686</c:v>
                </c:pt>
                <c:pt idx="1471">
                  <c:v>75947.972731585382</c:v>
                </c:pt>
                <c:pt idx="1472">
                  <c:v>75728.549105387909</c:v>
                </c:pt>
                <c:pt idx="1473">
                  <c:v>75399.633699221435</c:v>
                </c:pt>
                <c:pt idx="1474">
                  <c:v>75516.82999718425</c:v>
                </c:pt>
                <c:pt idx="1475">
                  <c:v>74324.887523029305</c:v>
                </c:pt>
                <c:pt idx="1476">
                  <c:v>74331.409422189521</c:v>
                </c:pt>
                <c:pt idx="1477">
                  <c:v>74997.234441285356</c:v>
                </c:pt>
                <c:pt idx="1478">
                  <c:v>75394.220117460514</c:v>
                </c:pt>
                <c:pt idx="1479">
                  <c:v>76705.295571449606</c:v>
                </c:pt>
                <c:pt idx="1480">
                  <c:v>76730.703838201065</c:v>
                </c:pt>
                <c:pt idx="1481">
                  <c:v>75739.869974957983</c:v>
                </c:pt>
                <c:pt idx="1482">
                  <c:v>76118.697428910673</c:v>
                </c:pt>
                <c:pt idx="1483">
                  <c:v>79385.4776773911</c:v>
                </c:pt>
                <c:pt idx="1484">
                  <c:v>79389.781260424585</c:v>
                </c:pt>
                <c:pt idx="1485">
                  <c:v>78863.212721250064</c:v>
                </c:pt>
                <c:pt idx="1486">
                  <c:v>79252.874643919233</c:v>
                </c:pt>
                <c:pt idx="1487">
                  <c:v>79463.890756635272</c:v>
                </c:pt>
                <c:pt idx="1488">
                  <c:v>78265.873132026361</c:v>
                </c:pt>
                <c:pt idx="1489">
                  <c:v>77840.856374294643</c:v>
                </c:pt>
                <c:pt idx="1490">
                  <c:v>78919.400866527241</c:v>
                </c:pt>
                <c:pt idx="1491">
                  <c:v>78610.47358896042</c:v>
                </c:pt>
                <c:pt idx="1492">
                  <c:v>78239.533313478649</c:v>
                </c:pt>
                <c:pt idx="1493">
                  <c:v>78908.296624269264</c:v>
                </c:pt>
                <c:pt idx="1494">
                  <c:v>79194.354100794691</c:v>
                </c:pt>
                <c:pt idx="1495">
                  <c:v>79035.137549632083</c:v>
                </c:pt>
                <c:pt idx="1496">
                  <c:v>79321.980680735651</c:v>
                </c:pt>
                <c:pt idx="1497">
                  <c:v>79834.146178902985</c:v>
                </c:pt>
                <c:pt idx="1498">
                  <c:v>79526.109195860612</c:v>
                </c:pt>
                <c:pt idx="1499">
                  <c:v>79931.693280145279</c:v>
                </c:pt>
                <c:pt idx="1500">
                  <c:v>78798.751073712323</c:v>
                </c:pt>
                <c:pt idx="1501">
                  <c:v>78347.370137084872</c:v>
                </c:pt>
                <c:pt idx="1502">
                  <c:v>77560.068059197889</c:v>
                </c:pt>
                <c:pt idx="1503">
                  <c:v>77660.010421821964</c:v>
                </c:pt>
                <c:pt idx="1504">
                  <c:v>79185.068337706471</c:v>
                </c:pt>
                <c:pt idx="1505">
                  <c:v>79274.20453782547</c:v>
                </c:pt>
                <c:pt idx="1506">
                  <c:v>78588.178436320537</c:v>
                </c:pt>
                <c:pt idx="1507">
                  <c:v>79375.575032644629</c:v>
                </c:pt>
                <c:pt idx="1508">
                  <c:v>80189.077036620962</c:v>
                </c:pt>
                <c:pt idx="1509">
                  <c:v>79738.842539193196</c:v>
                </c:pt>
                <c:pt idx="1510">
                  <c:v>79096.038329423594</c:v>
                </c:pt>
                <c:pt idx="1511">
                  <c:v>79134.674151585263</c:v>
                </c:pt>
                <c:pt idx="1512">
                  <c:v>79580.609361924377</c:v>
                </c:pt>
                <c:pt idx="1513">
                  <c:v>79361.77269057493</c:v>
                </c:pt>
                <c:pt idx="1514">
                  <c:v>79254.706440878115</c:v>
                </c:pt>
                <c:pt idx="1515">
                  <c:v>76578.283772211929</c:v>
                </c:pt>
                <c:pt idx="1516">
                  <c:v>73856.65986901494</c:v>
                </c:pt>
                <c:pt idx="1517">
                  <c:v>74417.954818359678</c:v>
                </c:pt>
                <c:pt idx="1518">
                  <c:v>73781.737582880174</c:v>
                </c:pt>
                <c:pt idx="1519">
                  <c:v>74811.202459301101</c:v>
                </c:pt>
                <c:pt idx="1520">
                  <c:v>74679.865415563807</c:v>
                </c:pt>
                <c:pt idx="1521">
                  <c:v>74972.468526886776</c:v>
                </c:pt>
                <c:pt idx="1522">
                  <c:v>75376.112660102561</c:v>
                </c:pt>
                <c:pt idx="1523">
                  <c:v>74540.415642977459</c:v>
                </c:pt>
                <c:pt idx="1524">
                  <c:v>74476.359049875566</c:v>
                </c:pt>
                <c:pt idx="1525">
                  <c:v>74946.822743996439</c:v>
                </c:pt>
                <c:pt idx="1526">
                  <c:v>74801.814879724989</c:v>
                </c:pt>
                <c:pt idx="1527">
                  <c:v>74863.0795793125</c:v>
                </c:pt>
                <c:pt idx="1528">
                  <c:v>75748.640896237484</c:v>
                </c:pt>
                <c:pt idx="1529">
                  <c:v>76356.186472848131</c:v>
                </c:pt>
                <c:pt idx="1530">
                  <c:v>77207.66602856839</c:v>
                </c:pt>
                <c:pt idx="1531">
                  <c:v>77802.307566924224</c:v>
                </c:pt>
                <c:pt idx="1532">
                  <c:v>77767.807824669188</c:v>
                </c:pt>
                <c:pt idx="1533">
                  <c:v>77510.251204646891</c:v>
                </c:pt>
                <c:pt idx="1534">
                  <c:v>77965.675902746239</c:v>
                </c:pt>
                <c:pt idx="1535">
                  <c:v>79052.510492439062</c:v>
                </c:pt>
                <c:pt idx="1536">
                  <c:v>78922.215894302019</c:v>
                </c:pt>
                <c:pt idx="1537">
                  <c:v>79673.751681407564</c:v>
                </c:pt>
                <c:pt idx="1538">
                  <c:v>80082.952615078422</c:v>
                </c:pt>
                <c:pt idx="1539">
                  <c:v>79240.70302110436</c:v>
                </c:pt>
                <c:pt idx="1540">
                  <c:v>79609.034316894162</c:v>
                </c:pt>
                <c:pt idx="1541">
                  <c:v>79330.587860927262</c:v>
                </c:pt>
                <c:pt idx="1542">
                  <c:v>79562.893243766841</c:v>
                </c:pt>
                <c:pt idx="1543">
                  <c:v>80164.741690464303</c:v>
                </c:pt>
                <c:pt idx="1544">
                  <c:v>80344.917016595413</c:v>
                </c:pt>
                <c:pt idx="1545">
                  <c:v>80090.432494884852</c:v>
                </c:pt>
                <c:pt idx="1546">
                  <c:v>80076.528611380942</c:v>
                </c:pt>
                <c:pt idx="1547">
                  <c:v>79901.505292622925</c:v>
                </c:pt>
                <c:pt idx="1548">
                  <c:v>80003.310745478229</c:v>
                </c:pt>
                <c:pt idx="1549">
                  <c:v>79585.718515534958</c:v>
                </c:pt>
                <c:pt idx="1550">
                  <c:v>79651.589227558332</c:v>
                </c:pt>
                <c:pt idx="1551">
                  <c:v>79416.05316160823</c:v>
                </c:pt>
                <c:pt idx="1552">
                  <c:v>79244.063569650942</c:v>
                </c:pt>
                <c:pt idx="1553">
                  <c:v>78760.469450974721</c:v>
                </c:pt>
                <c:pt idx="1554">
                  <c:v>78776.171011815721</c:v>
                </c:pt>
                <c:pt idx="1555">
                  <c:v>78599.345861573485</c:v>
                </c:pt>
                <c:pt idx="1556">
                  <c:v>79763.812983015538</c:v>
                </c:pt>
                <c:pt idx="1557">
                  <c:v>79920.570107153355</c:v>
                </c:pt>
                <c:pt idx="1558">
                  <c:v>80255.720487147861</c:v>
                </c:pt>
                <c:pt idx="1559">
                  <c:v>80132.966630625247</c:v>
                </c:pt>
                <c:pt idx="1560">
                  <c:v>80458.722535206791</c:v>
                </c:pt>
                <c:pt idx="1561">
                  <c:v>81221.456052031368</c:v>
                </c:pt>
                <c:pt idx="1562">
                  <c:v>81358.17906980688</c:v>
                </c:pt>
                <c:pt idx="1563">
                  <c:v>81660.849509368476</c:v>
                </c:pt>
                <c:pt idx="1564">
                  <c:v>82050.126533249582</c:v>
                </c:pt>
                <c:pt idx="1565">
                  <c:v>81719.10074438584</c:v>
                </c:pt>
                <c:pt idx="1566">
                  <c:v>81181.632265957393</c:v>
                </c:pt>
                <c:pt idx="1567">
                  <c:v>81597.25495616658</c:v>
                </c:pt>
                <c:pt idx="1568">
                  <c:v>80852.510923110181</c:v>
                </c:pt>
                <c:pt idx="1569">
                  <c:v>80661.260861005183</c:v>
                </c:pt>
                <c:pt idx="1570">
                  <c:v>81174.9274177068</c:v>
                </c:pt>
                <c:pt idx="1571">
                  <c:v>81392.658649262405</c:v>
                </c:pt>
                <c:pt idx="1572">
                  <c:v>82093.6432456407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48-4573-BAD9-5B544A2C21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89967072"/>
        <c:axId val="1185452624"/>
      </c:lineChart>
      <c:dateAx>
        <c:axId val="1089967072"/>
        <c:scaling>
          <c:orientation val="minMax"/>
          <c:min val="43462"/>
        </c:scaling>
        <c:delete val="1"/>
        <c:axPos val="b"/>
        <c:numFmt formatCode="yyyy" sourceLinked="0"/>
        <c:majorTickMark val="none"/>
        <c:minorTickMark val="none"/>
        <c:tickLblPos val="nextTo"/>
        <c:crossAx val="1185452624"/>
        <c:crosses val="autoZero"/>
        <c:auto val="0"/>
        <c:lblOffset val="100"/>
        <c:baseTimeUnit val="days"/>
        <c:majorUnit val="1"/>
        <c:majorTimeUnit val="years"/>
        <c:minorUnit val="1"/>
        <c:minorTimeUnit val="years"/>
      </c:dateAx>
      <c:valAx>
        <c:axId val="1185452624"/>
        <c:scaling>
          <c:orientation val="minMax"/>
        </c:scaling>
        <c:delete val="1"/>
        <c:axPos val="r"/>
        <c:numFmt formatCode="_(* #\ ##0_);_(* \(#\ ##0\);_(* &quot;-&quot;??_);_(@_)" sourceLinked="1"/>
        <c:majorTickMark val="none"/>
        <c:minorTickMark val="none"/>
        <c:tickLblPos val="nextTo"/>
        <c:crossAx val="1089967072"/>
        <c:crosses val="max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800362501700162E-2"/>
          <c:y val="0.21223326517156407"/>
          <c:w val="0.85261070688633089"/>
          <c:h val="0.575533469656871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9525" cap="rnd">
              <a:solidFill>
                <a:srgbClr val="9DC3E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C3E6"/>
              </a:solidFill>
              <a:ln w="9525">
                <a:solidFill>
                  <a:srgbClr val="9DC3E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+6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CFC-47C9-8F9C-00FFE0C032A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+7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CFC-47C9-8F9C-00FFE0C032AC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defRPr>
                    </a:pPr>
                    <a:r>
                      <a: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rPr>
                      <a:t>+8</a:t>
                    </a:r>
                  </a:p>
                </c:rich>
              </c:tx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1100" b="0" i="0" u="none" strike="noStrike" kern="1200" baseline="0">
                      <a:solidFill>
                        <a:schemeClr val="tx1"/>
                      </a:solidFill>
                      <a:latin typeface="Montserrat" panose="00000500000000000000" pitchFamily="2" charset="-52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CFC-47C9-8F9C-00FFE0C032A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55290E38-E37B-4901-A4AD-59D1EE481788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CFC-47C9-8F9C-00FFE0C032A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17080167-BDF1-407D-AFDE-29CBCEB3E22E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CCFC-47C9-8F9C-00FFE0C032A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9D5B3996-7301-440F-BF3D-42CE9BAC904F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CFC-47C9-8F9C-00FFE0C032A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BA2D2C3A-7B2E-4EF4-BB15-A94BBA5B7C79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CFC-47C9-8F9C-00FFE0C032A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+3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C52-4863-BDC1-DC266BF48F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1п. 2025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 formatCode="General">
                  <c:v>8</c:v>
                </c:pt>
                <c:pt idx="4" formatCode="General">
                  <c:v>1</c:v>
                </c:pt>
                <c:pt idx="5" formatCode="General">
                  <c:v>7</c:v>
                </c:pt>
                <c:pt idx="6" formatCode="General">
                  <c:v>11</c:v>
                </c:pt>
                <c:pt idx="7" formatCode="General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CFC-47C9-8F9C-00FFE0C032A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59168640"/>
        <c:axId val="1110479008"/>
      </c:lineChart>
      <c:catAx>
        <c:axId val="1259168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Montserrat" panose="00000500000000000000" pitchFamily="2" charset="-52"/>
        </a:defRPr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stings</c:v>
                </c:pt>
              </c:strCache>
            </c:strRef>
          </c:tx>
          <c:spPr>
            <a:solidFill>
              <a:srgbClr val="008EA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6</c:v>
                </c:pt>
                <c:pt idx="1">
                  <c:v>12</c:v>
                </c:pt>
                <c:pt idx="2">
                  <c:v>18</c:v>
                </c:pt>
                <c:pt idx="3">
                  <c:v>24</c:v>
                </c:pt>
                <c:pt idx="4">
                  <c:v>24</c:v>
                </c:pt>
                <c:pt idx="5">
                  <c:v>19</c:v>
                </c:pt>
                <c:pt idx="6">
                  <c:v>27</c:v>
                </c:pt>
                <c:pt idx="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2-4F25-BF26-4514CFCE40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suers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</c:v>
                </c:pt>
                <c:pt idx="1">
                  <c:v>8</c:v>
                </c:pt>
                <c:pt idx="2">
                  <c:v>13</c:v>
                </c:pt>
                <c:pt idx="3">
                  <c:v>18</c:v>
                </c:pt>
                <c:pt idx="4">
                  <c:v>18</c:v>
                </c:pt>
                <c:pt idx="5">
                  <c:v>16</c:v>
                </c:pt>
                <c:pt idx="6">
                  <c:v>23</c:v>
                </c:pt>
                <c:pt idx="7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72-4F25-BF26-4514CFCE4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00245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349-4FB9-A370-19D4025720BA}"/>
              </c:ext>
            </c:extLst>
          </c:dPt>
          <c:dPt>
            <c:idx val="7"/>
            <c:invertIfNegative val="0"/>
            <c:bubble3D val="0"/>
            <c:spPr>
              <a:solidFill>
                <a:srgbClr val="008EA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349-4FB9-A370-19D4025720BA}"/>
              </c:ext>
            </c:extLst>
          </c:dPt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9</c:v>
                </c:pt>
                <c:pt idx="1">
                  <c:v>48</c:v>
                </c:pt>
                <c:pt idx="2">
                  <c:v>34</c:v>
                </c:pt>
                <c:pt idx="3">
                  <c:v>94</c:v>
                </c:pt>
                <c:pt idx="4">
                  <c:v>67</c:v>
                </c:pt>
                <c:pt idx="5">
                  <c:v>130</c:v>
                </c:pt>
                <c:pt idx="6">
                  <c:v>495</c:v>
                </c:pt>
                <c:pt idx="7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49-4FB9-A370-19D4025720B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82C6D8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349-4FB9-A370-19D4025720BA}"/>
              </c:ext>
            </c:extLst>
          </c:dPt>
          <c:dLbls>
            <c:delete val="1"/>
          </c:dLbls>
          <c:cat>
            <c:strRef>
              <c:f>Sheet1!$A$2:$A$9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3кв. 2025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7-3349-4FB9-A370-19D4025720B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en-US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163FCD-FEBC-4765-80DF-3A4710795399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DB220F-CE1E-4FE0-AE7A-23801CC6B2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586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B220F-CE1E-4FE0-AE7A-23801CC6B2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00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950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68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40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39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490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2582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6E5FB5-E2A1-486B-8AE0-673CCCE414E5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391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8B4C6-3655-3D6F-32D0-BEDE0D7CDD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DE0958-3E55-7B87-38AB-4212E05C2C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D576B3-3B3B-8D42-6B71-11460828D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28F06E-C499-4C4A-AEBD-3CF34891B2CB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DB4026-AD73-8C06-4AE9-BC4AF5A66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4D36A-FAE1-D6AD-04BA-5A85E10B2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60FF0-CB54-489A-8041-AD8D5E18EB3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hape 8">
            <a:extLst>
              <a:ext uri="{FF2B5EF4-FFF2-40B4-BE49-F238E27FC236}">
                <a16:creationId xmlns:a16="http://schemas.microsoft.com/office/drawing/2014/main" id="{C2DCE9CB-D7E6-3CFE-F4E4-EE19C60A7FA2}"/>
              </a:ext>
            </a:extLst>
          </p:cNvPr>
          <p:cNvSpPr txBox="1">
            <a:spLocks/>
          </p:cNvSpPr>
          <p:nvPr userDrawn="1"/>
        </p:nvSpPr>
        <p:spPr>
          <a:xfrm>
            <a:off x="10710045" y="6594011"/>
            <a:ext cx="1301311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chemeClr val="tx1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pPr algn="r"/>
              <a:t>‹#›</a:t>
            </a:fld>
            <a:endParaRPr lang="en-US">
              <a:solidFill>
                <a:schemeClr val="tx1"/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433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D19433-92C9-0BA7-9358-BD244F014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77045C8-3564-743C-1AC0-641E08879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5BBE771-AA8B-A5BB-EF5E-751FE3C5A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61A8ECE-F74B-BE15-3539-B1B53A1DC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001512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178007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  <p:pic>
        <p:nvPicPr>
          <p:cNvPr id="5" name="Picture 14" descr="Picture 14">
            <a:extLst>
              <a:ext uri="{FF2B5EF4-FFF2-40B4-BE49-F238E27FC236}">
                <a16:creationId xmlns:a16="http://schemas.microsoft.com/office/drawing/2014/main" id="{DCD13E22-CB85-5FF6-8C87-9E79C7D05B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59079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BED979-79E2-E2B8-9DB1-F9F59CF91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4FD1DEA-2E4C-B9C8-7369-DEDF543B0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1A67BEE-E4EE-8454-4D24-FB3E8FEC5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3D091BA-AFCD-DB9F-6BCA-30435A930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6F1CE97-BCA4-2376-75EE-02E4C4D0E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FDDCA0E-2EB3-5CFB-6863-ED81CEF22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008328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4F396D-A569-47EB-0D78-89BD70B67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9EA70F9D-BFBB-A438-0711-8FFA4421EE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33474F-9A99-99D8-4D37-F608661548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2F1CFDE-291B-7815-CFD3-52D62E453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168075-CDA8-1A52-73D1-034066A11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5502137-1C3B-65B8-3064-B4E9F6706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72260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0353E0-50E1-6EE7-101A-C210BD286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022E042-4A1B-F69B-2B43-F9B30F80A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A1CB594-57BB-6BDC-7833-103A816C6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134E42B-D172-C1E1-D1DA-4A2637C5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83320D-AA70-17CC-D995-CD9D53F4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9114692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51E9D57-7B31-EDA6-6479-2AF2EDDDD4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79A3E8-3186-FB05-7085-BAB42DCC6E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1B5A58D-D08A-8A99-2C36-E83AB5233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DAC4352-3172-1211-2B32-15F2C1714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CF25DE-F0EC-176E-416B-A8ED8E99D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4257975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A0C533-C6A7-DCE6-40BB-3064B5D857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E007B2-213A-B1B5-CCA4-6CE06D6938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298A04-A8BB-734F-1187-80495A380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E60EDCC-66AC-ECFE-DB5F-FB256CE1F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E64D70-C55A-C8F1-BC0C-1AAD75D43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  <p:sp>
        <p:nvSpPr>
          <p:cNvPr id="7" name="Shape 8">
            <a:extLst>
              <a:ext uri="{FF2B5EF4-FFF2-40B4-BE49-F238E27FC236}">
                <a16:creationId xmlns:a16="http://schemas.microsoft.com/office/drawing/2014/main" id="{6D759043-7941-9996-71B9-6CC19DDC0C82}"/>
              </a:ext>
            </a:extLst>
          </p:cNvPr>
          <p:cNvSpPr txBox="1">
            <a:spLocks/>
          </p:cNvSpPr>
          <p:nvPr userDrawn="1"/>
        </p:nvSpPr>
        <p:spPr>
          <a:xfrm>
            <a:off x="10710045" y="6594011"/>
            <a:ext cx="1301311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chemeClr val="tx1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pPr algn="r"/>
              <a:t>‹#›</a:t>
            </a:fld>
            <a:endParaRPr lang="en-US">
              <a:solidFill>
                <a:schemeClr val="tx1"/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7107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E7CBF6-64A6-5050-6EDA-5E387248B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678A62A-80F6-513C-DA50-E90F17EDD0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9962ED-2E2D-8CEF-419D-7E3A9EEA6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FFB3D19-99D0-97D0-F096-CDA31F925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5ED152-32F7-E193-36DE-158C6CED1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900760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F43BA2-5323-CBAE-B467-785B7DC8F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4D10943-C115-2AE9-2167-0422774587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C44796-6778-7C8F-04DF-3570779C1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ABE545-7658-4B1D-7758-99C4DA6F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2E666C-D02E-5C8B-DDE8-62CD8F5DD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957244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12E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8">
            <a:extLst>
              <a:ext uri="{FF2B5EF4-FFF2-40B4-BE49-F238E27FC236}">
                <a16:creationId xmlns:a16="http://schemas.microsoft.com/office/drawing/2014/main" id="{C2DCE9CB-D7E6-3CFE-F4E4-EE19C60A7FA2}"/>
              </a:ext>
            </a:extLst>
          </p:cNvPr>
          <p:cNvSpPr txBox="1">
            <a:spLocks/>
          </p:cNvSpPr>
          <p:nvPr userDrawn="1"/>
        </p:nvSpPr>
        <p:spPr>
          <a:xfrm>
            <a:off x="10710045" y="6594011"/>
            <a:ext cx="1301311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468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B46EE9-C206-40E6-211F-EE0D8D39C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EC2A116-73EE-DE60-C0EA-90204E0621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8AB7190-918E-D9A6-5D9B-4EC459F53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238B590-A198-1EA2-6552-FBD7DE178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E4B5E6-524D-3D60-C59E-6CE3C6EE5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382047-2520-3F49-C115-94FBFCB2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255183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21952F-3CB7-A286-35FA-59C2509F8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2E1BE5A-E9EF-6FD9-365D-24DFFEE2EE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F77396-4C72-EA8B-D05C-8D4734B496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1080872-E787-F120-7D18-30AE2B5DE4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52D8DD0-9030-BE73-E859-59B9354785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B5CE095-C263-6604-5D68-1D6918BF7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A2DB07C-A6A9-AFDE-0A85-DC4AEBE97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95EB520-E32B-D959-932C-57C9B8B3C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453208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D19433-92C9-0BA7-9358-BD244F014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77045C8-3564-743C-1AC0-641E08879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5BBE771-AA8B-A5BB-EF5E-751FE3C5A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61A8ECE-F74B-BE15-3539-B1B53A1DC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858539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844578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  <p:pic>
        <p:nvPicPr>
          <p:cNvPr id="5" name="Picture 14" descr="Picture 14">
            <a:extLst>
              <a:ext uri="{FF2B5EF4-FFF2-40B4-BE49-F238E27FC236}">
                <a16:creationId xmlns:a16="http://schemas.microsoft.com/office/drawing/2014/main" id="{DCD13E22-CB85-5FF6-8C87-9E79C7D05B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728701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BED979-79E2-E2B8-9DB1-F9F59CF91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4FD1DEA-2E4C-B9C8-7369-DEDF543B0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1A67BEE-E4EE-8454-4D24-FB3E8FEC5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3D091BA-AFCD-DB9F-6BCA-30435A930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6F1CE97-BCA4-2376-75EE-02E4C4D0E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FDDCA0E-2EB3-5CFB-6863-ED81CEF22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8422783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4F396D-A569-47EB-0D78-89BD70B67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9EA70F9D-BFBB-A438-0711-8FFA4421EE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33474F-9A99-99D8-4D37-F608661548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2F1CFDE-291B-7815-CFD3-52D62E453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168075-CDA8-1A52-73D1-034066A11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5502137-1C3B-65B8-3064-B4E9F6706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589862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0353E0-50E1-6EE7-101A-C210BD286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022E042-4A1B-F69B-2B43-F9B30F80A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A1CB594-57BB-6BDC-7833-103A816C6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134E42B-D172-C1E1-D1DA-4A2637C5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83320D-AA70-17CC-D995-CD9D53F4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5494148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51E9D57-7B31-EDA6-6479-2AF2EDDDD4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79A3E8-3186-FB05-7085-BAB42DCC6E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1B5A58D-D08A-8A99-2C36-E83AB5233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DAC4352-3172-1211-2B32-15F2C1714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CF25DE-F0EC-176E-416B-A8ED8E99D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0022018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012E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059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ONT COVER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14" descr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40" name="Freeform 5"/>
          <p:cNvSpPr/>
          <p:nvPr/>
        </p:nvSpPr>
        <p:spPr>
          <a:xfrm>
            <a:off x="7440612" y="4762"/>
            <a:ext cx="4751388" cy="6862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66" y="0"/>
                </a:moveTo>
                <a:cubicBezTo>
                  <a:pt x="7621" y="516"/>
                  <a:pt x="6453" y="1138"/>
                  <a:pt x="5400" y="1866"/>
                </a:cubicBezTo>
                <a:cubicBezTo>
                  <a:pt x="1915" y="4249"/>
                  <a:pt x="0" y="7425"/>
                  <a:pt x="0" y="10800"/>
                </a:cubicBezTo>
                <a:cubicBezTo>
                  <a:pt x="0" y="14175"/>
                  <a:pt x="1915" y="17351"/>
                  <a:pt x="5400" y="19734"/>
                </a:cubicBezTo>
                <a:cubicBezTo>
                  <a:pt x="6453" y="20462"/>
                  <a:pt x="7621" y="21084"/>
                  <a:pt x="8846" y="21600"/>
                </a:cubicBezTo>
                <a:cubicBezTo>
                  <a:pt x="15338" y="21600"/>
                  <a:pt x="15338" y="21600"/>
                  <a:pt x="15338" y="21600"/>
                </a:cubicBezTo>
                <a:cubicBezTo>
                  <a:pt x="15950" y="19932"/>
                  <a:pt x="15951" y="19932"/>
                  <a:pt x="15951" y="19932"/>
                </a:cubicBezTo>
                <a:cubicBezTo>
                  <a:pt x="16755" y="20038"/>
                  <a:pt x="17578" y="20091"/>
                  <a:pt x="18421" y="20091"/>
                </a:cubicBezTo>
                <a:cubicBezTo>
                  <a:pt x="19532" y="20091"/>
                  <a:pt x="20585" y="19999"/>
                  <a:pt x="21600" y="19840"/>
                </a:cubicBezTo>
                <a:lnTo>
                  <a:pt x="21600" y="18344"/>
                </a:lnTo>
                <a:cubicBezTo>
                  <a:pt x="20604" y="18542"/>
                  <a:pt x="19532" y="18648"/>
                  <a:pt x="18421" y="18648"/>
                </a:cubicBezTo>
                <a:cubicBezTo>
                  <a:pt x="12121" y="18648"/>
                  <a:pt x="6990" y="15128"/>
                  <a:pt x="6990" y="10800"/>
                </a:cubicBezTo>
                <a:cubicBezTo>
                  <a:pt x="6990" y="6472"/>
                  <a:pt x="12121" y="2952"/>
                  <a:pt x="18421" y="2952"/>
                </a:cubicBezTo>
                <a:cubicBezTo>
                  <a:pt x="19532" y="2952"/>
                  <a:pt x="20604" y="3057"/>
                  <a:pt x="21600" y="3269"/>
                </a:cubicBezTo>
                <a:cubicBezTo>
                  <a:pt x="21600" y="1760"/>
                  <a:pt x="21600" y="1760"/>
                  <a:pt x="21600" y="1760"/>
                </a:cubicBezTo>
                <a:cubicBezTo>
                  <a:pt x="20585" y="1601"/>
                  <a:pt x="19532" y="1509"/>
                  <a:pt x="18421" y="1509"/>
                </a:cubicBezTo>
                <a:cubicBezTo>
                  <a:pt x="17598" y="1509"/>
                  <a:pt x="16775" y="1562"/>
                  <a:pt x="15971" y="1668"/>
                </a:cubicBezTo>
                <a:cubicBezTo>
                  <a:pt x="15358" y="0"/>
                  <a:pt x="15357" y="0"/>
                  <a:pt x="15357" y="0"/>
                </a:cubicBezTo>
                <a:cubicBezTo>
                  <a:pt x="8866" y="0"/>
                  <a:pt x="8866" y="0"/>
                  <a:pt x="8866" y="0"/>
                </a:cubicBezTo>
                <a:close/>
                <a:moveTo>
                  <a:pt x="13194" y="199"/>
                </a:moveTo>
                <a:cubicBezTo>
                  <a:pt x="13884" y="2052"/>
                  <a:pt x="13883" y="2051"/>
                  <a:pt x="13883" y="2051"/>
                </a:cubicBezTo>
                <a:cubicBezTo>
                  <a:pt x="8962" y="3256"/>
                  <a:pt x="5362" y="6353"/>
                  <a:pt x="4922" y="10046"/>
                </a:cubicBezTo>
                <a:cubicBezTo>
                  <a:pt x="2145" y="10046"/>
                  <a:pt x="2145" y="10046"/>
                  <a:pt x="2145" y="10046"/>
                </a:cubicBezTo>
                <a:cubicBezTo>
                  <a:pt x="2586" y="5466"/>
                  <a:pt x="7086" y="1615"/>
                  <a:pt x="13194" y="199"/>
                </a:cubicBezTo>
                <a:close/>
                <a:moveTo>
                  <a:pt x="18403" y="6068"/>
                </a:moveTo>
                <a:cubicBezTo>
                  <a:pt x="14631" y="6068"/>
                  <a:pt x="11547" y="8186"/>
                  <a:pt x="11547" y="10794"/>
                </a:cubicBezTo>
                <a:cubicBezTo>
                  <a:pt x="11547" y="13414"/>
                  <a:pt x="14631" y="15532"/>
                  <a:pt x="18403" y="15532"/>
                </a:cubicBezTo>
                <a:cubicBezTo>
                  <a:pt x="19552" y="15532"/>
                  <a:pt x="20643" y="15334"/>
                  <a:pt x="21600" y="14990"/>
                </a:cubicBezTo>
                <a:cubicBezTo>
                  <a:pt x="21600" y="13243"/>
                  <a:pt x="21600" y="13242"/>
                  <a:pt x="21600" y="13242"/>
                </a:cubicBezTo>
                <a:cubicBezTo>
                  <a:pt x="20757" y="13771"/>
                  <a:pt x="19628" y="14089"/>
                  <a:pt x="18403" y="14089"/>
                </a:cubicBezTo>
                <a:cubicBezTo>
                  <a:pt x="15780" y="14089"/>
                  <a:pt x="13634" y="12607"/>
                  <a:pt x="13634" y="10794"/>
                </a:cubicBezTo>
                <a:cubicBezTo>
                  <a:pt x="13634" y="8994"/>
                  <a:pt x="15780" y="7511"/>
                  <a:pt x="18403" y="7511"/>
                </a:cubicBezTo>
                <a:cubicBezTo>
                  <a:pt x="19628" y="7511"/>
                  <a:pt x="20757" y="7829"/>
                  <a:pt x="21600" y="8358"/>
                </a:cubicBezTo>
                <a:cubicBezTo>
                  <a:pt x="21600" y="6611"/>
                  <a:pt x="21600" y="6610"/>
                  <a:pt x="21600" y="6610"/>
                </a:cubicBezTo>
                <a:cubicBezTo>
                  <a:pt x="20643" y="6266"/>
                  <a:pt x="19552" y="6068"/>
                  <a:pt x="18403" y="6068"/>
                </a:cubicBezTo>
                <a:close/>
                <a:moveTo>
                  <a:pt x="2145" y="11541"/>
                </a:moveTo>
                <a:cubicBezTo>
                  <a:pt x="4922" y="11541"/>
                  <a:pt x="4922" y="11541"/>
                  <a:pt x="4922" y="11541"/>
                </a:cubicBezTo>
                <a:cubicBezTo>
                  <a:pt x="5343" y="15233"/>
                  <a:pt x="8943" y="18331"/>
                  <a:pt x="13846" y="19549"/>
                </a:cubicBezTo>
                <a:lnTo>
                  <a:pt x="13174" y="21401"/>
                </a:lnTo>
                <a:cubicBezTo>
                  <a:pt x="7066" y="19972"/>
                  <a:pt x="2586" y="16120"/>
                  <a:pt x="2145" y="11541"/>
                </a:cubicBezTo>
                <a:close/>
              </a:path>
            </a:pathLst>
          </a:custGeom>
          <a:solidFill>
            <a:srgbClr val="338592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51709" y="1031834"/>
            <a:ext cx="6941826" cy="20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400" b="1">
                <a:solidFill>
                  <a:srgbClr val="FFFFFF"/>
                </a:solidFill>
              </a:defRPr>
            </a:lvl1pPr>
            <a:lvl2pPr marL="876300" indent="-41910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2pPr>
            <a:lvl3pPr marL="1051560" indent="-13716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3pPr>
            <a:lvl4pPr marL="1524000" indent="-15240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4pPr>
            <a:lvl5pPr marL="1981200" indent="-15240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51709" y="3289151"/>
            <a:ext cx="6941826" cy="2003426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</a:defRPr>
            </a:pPr>
            <a:r>
              <a:rPr lang="ru-RU"/>
              <a:t>Образец текста</a:t>
            </a:r>
          </a:p>
        </p:txBody>
      </p:sp>
      <p:grpSp>
        <p:nvGrpSpPr>
          <p:cNvPr id="50" name="Group 4"/>
          <p:cNvGrpSpPr/>
          <p:nvPr/>
        </p:nvGrpSpPr>
        <p:grpSpPr>
          <a:xfrm>
            <a:off x="604152" y="5766351"/>
            <a:ext cx="1545092" cy="510072"/>
            <a:chOff x="0" y="0"/>
            <a:chExt cx="1545091" cy="510070"/>
          </a:xfrm>
        </p:grpSpPr>
        <p:sp>
          <p:nvSpPr>
            <p:cNvPr id="44" name="Freeform 5"/>
            <p:cNvSpPr/>
            <p:nvPr/>
          </p:nvSpPr>
          <p:spPr>
            <a:xfrm>
              <a:off x="538440" y="91162"/>
              <a:ext cx="325147" cy="3260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07" y="21600"/>
                  </a:moveTo>
                  <a:lnTo>
                    <a:pt x="15379" y="17636"/>
                  </a:lnTo>
                  <a:lnTo>
                    <a:pt x="6221" y="17636"/>
                  </a:lnTo>
                  <a:lnTo>
                    <a:pt x="4435" y="21600"/>
                  </a:lnTo>
                  <a:lnTo>
                    <a:pt x="0" y="21600"/>
                  </a:lnTo>
                  <a:lnTo>
                    <a:pt x="10483" y="0"/>
                  </a:lnTo>
                  <a:lnTo>
                    <a:pt x="11059" y="0"/>
                  </a:lnTo>
                  <a:lnTo>
                    <a:pt x="21600" y="21600"/>
                  </a:lnTo>
                  <a:lnTo>
                    <a:pt x="17107" y="21600"/>
                  </a:lnTo>
                  <a:close/>
                  <a:moveTo>
                    <a:pt x="7488" y="14591"/>
                  </a:moveTo>
                  <a:lnTo>
                    <a:pt x="14054" y="14591"/>
                  </a:lnTo>
                  <a:lnTo>
                    <a:pt x="10771" y="7411"/>
                  </a:lnTo>
                  <a:lnTo>
                    <a:pt x="7488" y="1459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5" name="Rectangle 6"/>
            <p:cNvSpPr/>
            <p:nvPr/>
          </p:nvSpPr>
          <p:spPr>
            <a:xfrm>
              <a:off x="912141" y="99832"/>
              <a:ext cx="63295" cy="31734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6" name="Freeform 7"/>
            <p:cNvSpPr/>
            <p:nvPr/>
          </p:nvSpPr>
          <p:spPr>
            <a:xfrm>
              <a:off x="1056939" y="99832"/>
              <a:ext cx="176013" cy="3173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67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3423"/>
                  </a:lnTo>
                  <a:lnTo>
                    <a:pt x="7767" y="3423"/>
                  </a:lnTo>
                  <a:lnTo>
                    <a:pt x="7767" y="8144"/>
                  </a:lnTo>
                  <a:lnTo>
                    <a:pt x="17344" y="8144"/>
                  </a:lnTo>
                  <a:lnTo>
                    <a:pt x="17344" y="11508"/>
                  </a:lnTo>
                  <a:lnTo>
                    <a:pt x="7767" y="11508"/>
                  </a:lnTo>
                  <a:lnTo>
                    <a:pt x="7767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7" name="Freeform 8"/>
            <p:cNvSpPr/>
            <p:nvPr/>
          </p:nvSpPr>
          <p:spPr>
            <a:xfrm>
              <a:off x="1262431" y="95497"/>
              <a:ext cx="282661" cy="3251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32"/>
                  </a:moveTo>
                  <a:cubicBezTo>
                    <a:pt x="0" y="4279"/>
                    <a:pt x="5069" y="0"/>
                    <a:pt x="12710" y="0"/>
                  </a:cubicBezTo>
                  <a:cubicBezTo>
                    <a:pt x="15440" y="0"/>
                    <a:pt x="18793" y="815"/>
                    <a:pt x="20664" y="1970"/>
                  </a:cubicBezTo>
                  <a:cubicBezTo>
                    <a:pt x="20274" y="5570"/>
                    <a:pt x="20274" y="5570"/>
                    <a:pt x="20274" y="5570"/>
                  </a:cubicBezTo>
                  <a:cubicBezTo>
                    <a:pt x="18325" y="4279"/>
                    <a:pt x="15284" y="3396"/>
                    <a:pt x="12944" y="3396"/>
                  </a:cubicBezTo>
                  <a:cubicBezTo>
                    <a:pt x="8188" y="3396"/>
                    <a:pt x="4991" y="6385"/>
                    <a:pt x="4991" y="10732"/>
                  </a:cubicBezTo>
                  <a:cubicBezTo>
                    <a:pt x="4991" y="15147"/>
                    <a:pt x="8188" y="18204"/>
                    <a:pt x="12944" y="18204"/>
                  </a:cubicBezTo>
                  <a:cubicBezTo>
                    <a:pt x="15830" y="18204"/>
                    <a:pt x="18325" y="17117"/>
                    <a:pt x="19729" y="16030"/>
                  </a:cubicBezTo>
                  <a:cubicBezTo>
                    <a:pt x="21600" y="19087"/>
                    <a:pt x="21600" y="19087"/>
                    <a:pt x="21600" y="19087"/>
                  </a:cubicBezTo>
                  <a:cubicBezTo>
                    <a:pt x="18949" y="20717"/>
                    <a:pt x="16064" y="21600"/>
                    <a:pt x="12710" y="21600"/>
                  </a:cubicBezTo>
                  <a:cubicBezTo>
                    <a:pt x="5069" y="21600"/>
                    <a:pt x="0" y="17253"/>
                    <a:pt x="0" y="1073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8" name="Freeform 9"/>
            <p:cNvSpPr/>
            <p:nvPr/>
          </p:nvSpPr>
          <p:spPr>
            <a:xfrm>
              <a:off x="156069" y="154457"/>
              <a:ext cx="192487" cy="1942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57"/>
                  </a:moveTo>
                  <a:cubicBezTo>
                    <a:pt x="0" y="16800"/>
                    <a:pt x="4800" y="21600"/>
                    <a:pt x="10743" y="21600"/>
                  </a:cubicBezTo>
                  <a:cubicBezTo>
                    <a:pt x="16686" y="21600"/>
                    <a:pt x="21600" y="16800"/>
                    <a:pt x="21600" y="10857"/>
                  </a:cubicBezTo>
                  <a:cubicBezTo>
                    <a:pt x="21600" y="4914"/>
                    <a:pt x="16686" y="0"/>
                    <a:pt x="10743" y="0"/>
                  </a:cubicBezTo>
                  <a:cubicBezTo>
                    <a:pt x="4800" y="0"/>
                    <a:pt x="0" y="4914"/>
                    <a:pt x="0" y="10857"/>
                  </a:cubicBezTo>
                  <a:close/>
                  <a:moveTo>
                    <a:pt x="18400" y="10857"/>
                  </a:moveTo>
                  <a:cubicBezTo>
                    <a:pt x="18400" y="15086"/>
                    <a:pt x="14971" y="18514"/>
                    <a:pt x="10743" y="18514"/>
                  </a:cubicBezTo>
                  <a:cubicBezTo>
                    <a:pt x="6514" y="18514"/>
                    <a:pt x="3086" y="15086"/>
                    <a:pt x="3086" y="10857"/>
                  </a:cubicBezTo>
                  <a:cubicBezTo>
                    <a:pt x="3086" y="6629"/>
                    <a:pt x="6514" y="3200"/>
                    <a:pt x="10743" y="3200"/>
                  </a:cubicBezTo>
                  <a:cubicBezTo>
                    <a:pt x="14971" y="3200"/>
                    <a:pt x="18400" y="6629"/>
                    <a:pt x="18400" y="1085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9" name="Freeform 10"/>
            <p:cNvSpPr/>
            <p:nvPr/>
          </p:nvSpPr>
          <p:spPr>
            <a:xfrm>
              <a:off x="0" y="0"/>
              <a:ext cx="440464" cy="510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08" extrusionOk="0">
                  <a:moveTo>
                    <a:pt x="17700" y="14916"/>
                  </a:moveTo>
                  <a:cubicBezTo>
                    <a:pt x="17700" y="14916"/>
                    <a:pt x="17650" y="14916"/>
                    <a:pt x="17650" y="14959"/>
                  </a:cubicBezTo>
                  <a:cubicBezTo>
                    <a:pt x="17650" y="14959"/>
                    <a:pt x="17650" y="14959"/>
                    <a:pt x="17650" y="14959"/>
                  </a:cubicBezTo>
                  <a:cubicBezTo>
                    <a:pt x="16300" y="16102"/>
                    <a:pt x="14400" y="16780"/>
                    <a:pt x="12350" y="16780"/>
                  </a:cubicBezTo>
                  <a:cubicBezTo>
                    <a:pt x="9150" y="16780"/>
                    <a:pt x="6450" y="15086"/>
                    <a:pt x="5350" y="12672"/>
                  </a:cubicBezTo>
                  <a:cubicBezTo>
                    <a:pt x="5350" y="12672"/>
                    <a:pt x="5350" y="12629"/>
                    <a:pt x="5350" y="12629"/>
                  </a:cubicBezTo>
                  <a:cubicBezTo>
                    <a:pt x="5300" y="12587"/>
                    <a:pt x="5300" y="12545"/>
                    <a:pt x="5300" y="12545"/>
                  </a:cubicBezTo>
                  <a:cubicBezTo>
                    <a:pt x="4400" y="10342"/>
                    <a:pt x="4950" y="7801"/>
                    <a:pt x="7050" y="6022"/>
                  </a:cubicBezTo>
                  <a:cubicBezTo>
                    <a:pt x="7000" y="6022"/>
                    <a:pt x="7000" y="6022"/>
                    <a:pt x="7000" y="6022"/>
                  </a:cubicBezTo>
                  <a:cubicBezTo>
                    <a:pt x="7750" y="5387"/>
                    <a:pt x="8700" y="4879"/>
                    <a:pt x="9700" y="4540"/>
                  </a:cubicBezTo>
                  <a:cubicBezTo>
                    <a:pt x="9700" y="4540"/>
                    <a:pt x="9700" y="4540"/>
                    <a:pt x="9700" y="4540"/>
                  </a:cubicBezTo>
                  <a:cubicBezTo>
                    <a:pt x="12350" y="3693"/>
                    <a:pt x="15450" y="4159"/>
                    <a:pt x="17600" y="5938"/>
                  </a:cubicBezTo>
                  <a:cubicBezTo>
                    <a:pt x="18150" y="6361"/>
                    <a:pt x="18150" y="6361"/>
                    <a:pt x="18150" y="6361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1600" y="3396"/>
                    <a:pt x="21600" y="3396"/>
                    <a:pt x="21600" y="3396"/>
                  </a:cubicBezTo>
                  <a:cubicBezTo>
                    <a:pt x="21450" y="3269"/>
                    <a:pt x="21350" y="3142"/>
                    <a:pt x="21200" y="3015"/>
                  </a:cubicBezTo>
                  <a:cubicBezTo>
                    <a:pt x="18450" y="770"/>
                    <a:pt x="14850" y="-246"/>
                    <a:pt x="11300" y="50"/>
                  </a:cubicBezTo>
                  <a:cubicBezTo>
                    <a:pt x="8450" y="262"/>
                    <a:pt x="5700" y="1321"/>
                    <a:pt x="3550" y="3142"/>
                  </a:cubicBezTo>
                  <a:cubicBezTo>
                    <a:pt x="1400" y="5006"/>
                    <a:pt x="250" y="7378"/>
                    <a:pt x="50" y="9792"/>
                  </a:cubicBezTo>
                  <a:cubicBezTo>
                    <a:pt x="0" y="9792"/>
                    <a:pt x="0" y="9792"/>
                    <a:pt x="0" y="9792"/>
                  </a:cubicBezTo>
                  <a:cubicBezTo>
                    <a:pt x="0" y="10130"/>
                    <a:pt x="0" y="10130"/>
                    <a:pt x="0" y="10130"/>
                  </a:cubicBezTo>
                  <a:cubicBezTo>
                    <a:pt x="0" y="10469"/>
                    <a:pt x="0" y="10469"/>
                    <a:pt x="0" y="10469"/>
                  </a:cubicBezTo>
                  <a:cubicBezTo>
                    <a:pt x="0" y="10766"/>
                    <a:pt x="0" y="10766"/>
                    <a:pt x="0" y="10766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150" y="13603"/>
                    <a:pt x="1400" y="16145"/>
                    <a:pt x="3750" y="18093"/>
                  </a:cubicBezTo>
                  <a:cubicBezTo>
                    <a:pt x="6450" y="20338"/>
                    <a:pt x="10100" y="21354"/>
                    <a:pt x="13600" y="21058"/>
                  </a:cubicBezTo>
                  <a:cubicBezTo>
                    <a:pt x="16450" y="20846"/>
                    <a:pt x="19200" y="19787"/>
                    <a:pt x="21350" y="17966"/>
                  </a:cubicBezTo>
                  <a:cubicBezTo>
                    <a:pt x="18750" y="15763"/>
                    <a:pt x="18750" y="15763"/>
                    <a:pt x="18750" y="15763"/>
                  </a:cubicBezTo>
                  <a:lnTo>
                    <a:pt x="17700" y="14916"/>
                  </a:lnTo>
                  <a:close/>
                  <a:moveTo>
                    <a:pt x="11450" y="1363"/>
                  </a:moveTo>
                  <a:cubicBezTo>
                    <a:pt x="11450" y="1363"/>
                    <a:pt x="11450" y="1363"/>
                    <a:pt x="11450" y="1363"/>
                  </a:cubicBezTo>
                  <a:cubicBezTo>
                    <a:pt x="14350" y="1152"/>
                    <a:pt x="17200" y="1914"/>
                    <a:pt x="19450" y="3481"/>
                  </a:cubicBezTo>
                  <a:cubicBezTo>
                    <a:pt x="18100" y="4625"/>
                    <a:pt x="18100" y="4625"/>
                    <a:pt x="18100" y="4625"/>
                  </a:cubicBezTo>
                  <a:cubicBezTo>
                    <a:pt x="16000" y="3142"/>
                    <a:pt x="13300" y="2634"/>
                    <a:pt x="10750" y="3015"/>
                  </a:cubicBezTo>
                  <a:cubicBezTo>
                    <a:pt x="10300" y="1533"/>
                    <a:pt x="10300" y="1533"/>
                    <a:pt x="10300" y="1533"/>
                  </a:cubicBezTo>
                  <a:cubicBezTo>
                    <a:pt x="10700" y="1448"/>
                    <a:pt x="11050" y="1406"/>
                    <a:pt x="11450" y="1363"/>
                  </a:cubicBezTo>
                  <a:close/>
                  <a:moveTo>
                    <a:pt x="4700" y="4116"/>
                  </a:moveTo>
                  <a:cubicBezTo>
                    <a:pt x="5900" y="3058"/>
                    <a:pt x="7300" y="2295"/>
                    <a:pt x="8900" y="1829"/>
                  </a:cubicBezTo>
                  <a:cubicBezTo>
                    <a:pt x="9300" y="3227"/>
                    <a:pt x="9300" y="3227"/>
                    <a:pt x="9300" y="3227"/>
                  </a:cubicBezTo>
                  <a:cubicBezTo>
                    <a:pt x="9350" y="3354"/>
                    <a:pt x="9350" y="3354"/>
                    <a:pt x="9350" y="3354"/>
                  </a:cubicBezTo>
                  <a:cubicBezTo>
                    <a:pt x="8050" y="3735"/>
                    <a:pt x="6900" y="4370"/>
                    <a:pt x="6000" y="5175"/>
                  </a:cubicBezTo>
                  <a:cubicBezTo>
                    <a:pt x="6000" y="5133"/>
                    <a:pt x="6000" y="5133"/>
                    <a:pt x="6000" y="5133"/>
                  </a:cubicBezTo>
                  <a:cubicBezTo>
                    <a:pt x="4450" y="6446"/>
                    <a:pt x="3650" y="8098"/>
                    <a:pt x="3450" y="9792"/>
                  </a:cubicBezTo>
                  <a:cubicBezTo>
                    <a:pt x="1600" y="9792"/>
                    <a:pt x="1600" y="9792"/>
                    <a:pt x="1600" y="9792"/>
                  </a:cubicBezTo>
                  <a:cubicBezTo>
                    <a:pt x="1800" y="7674"/>
                    <a:pt x="2900" y="5641"/>
                    <a:pt x="4700" y="4116"/>
                  </a:cubicBezTo>
                  <a:close/>
                  <a:moveTo>
                    <a:pt x="8650" y="19194"/>
                  </a:moveTo>
                  <a:cubicBezTo>
                    <a:pt x="7250" y="18728"/>
                    <a:pt x="5950" y="18050"/>
                    <a:pt x="4850" y="17119"/>
                  </a:cubicBezTo>
                  <a:cubicBezTo>
                    <a:pt x="2900" y="15509"/>
                    <a:pt x="1750" y="13349"/>
                    <a:pt x="1600" y="11020"/>
                  </a:cubicBezTo>
                  <a:cubicBezTo>
                    <a:pt x="3450" y="11020"/>
                    <a:pt x="3450" y="11020"/>
                    <a:pt x="3450" y="11020"/>
                  </a:cubicBezTo>
                  <a:cubicBezTo>
                    <a:pt x="3600" y="12799"/>
                    <a:pt x="4500" y="14535"/>
                    <a:pt x="6100" y="15848"/>
                  </a:cubicBezTo>
                  <a:cubicBezTo>
                    <a:pt x="7000" y="16610"/>
                    <a:pt x="8050" y="17161"/>
                    <a:pt x="9150" y="17542"/>
                  </a:cubicBezTo>
                  <a:lnTo>
                    <a:pt x="8650" y="19194"/>
                  </a:lnTo>
                  <a:close/>
                  <a:moveTo>
                    <a:pt x="13450" y="19745"/>
                  </a:moveTo>
                  <a:cubicBezTo>
                    <a:pt x="12300" y="19829"/>
                    <a:pt x="11150" y="19745"/>
                    <a:pt x="10050" y="19533"/>
                  </a:cubicBezTo>
                  <a:cubicBezTo>
                    <a:pt x="10550" y="17881"/>
                    <a:pt x="10550" y="17881"/>
                    <a:pt x="10550" y="17881"/>
                  </a:cubicBezTo>
                  <a:cubicBezTo>
                    <a:pt x="10850" y="17923"/>
                    <a:pt x="11150" y="17966"/>
                    <a:pt x="11400" y="18008"/>
                  </a:cubicBezTo>
                  <a:cubicBezTo>
                    <a:pt x="11450" y="18008"/>
                    <a:pt x="11500" y="18008"/>
                    <a:pt x="11550" y="18008"/>
                  </a:cubicBezTo>
                  <a:cubicBezTo>
                    <a:pt x="11650" y="18008"/>
                    <a:pt x="11750" y="18008"/>
                    <a:pt x="11850" y="18008"/>
                  </a:cubicBezTo>
                  <a:cubicBezTo>
                    <a:pt x="11900" y="18008"/>
                    <a:pt x="11950" y="18008"/>
                    <a:pt x="12000" y="18008"/>
                  </a:cubicBezTo>
                  <a:cubicBezTo>
                    <a:pt x="12100" y="18008"/>
                    <a:pt x="12150" y="18008"/>
                    <a:pt x="12250" y="18050"/>
                  </a:cubicBezTo>
                  <a:cubicBezTo>
                    <a:pt x="12300" y="18050"/>
                    <a:pt x="12350" y="18050"/>
                    <a:pt x="12350" y="18050"/>
                  </a:cubicBezTo>
                  <a:cubicBezTo>
                    <a:pt x="12400" y="18050"/>
                    <a:pt x="12450" y="18050"/>
                    <a:pt x="12450" y="18050"/>
                  </a:cubicBezTo>
                  <a:cubicBezTo>
                    <a:pt x="12500" y="18050"/>
                    <a:pt x="12550" y="18008"/>
                    <a:pt x="12650" y="18008"/>
                  </a:cubicBezTo>
                  <a:cubicBezTo>
                    <a:pt x="14200" y="18008"/>
                    <a:pt x="15700" y="17627"/>
                    <a:pt x="16950" y="16949"/>
                  </a:cubicBezTo>
                  <a:cubicBezTo>
                    <a:pt x="16950" y="16949"/>
                    <a:pt x="16950" y="16949"/>
                    <a:pt x="16950" y="16949"/>
                  </a:cubicBezTo>
                  <a:cubicBezTo>
                    <a:pt x="17050" y="16907"/>
                    <a:pt x="17150" y="16865"/>
                    <a:pt x="17250" y="16822"/>
                  </a:cubicBezTo>
                  <a:cubicBezTo>
                    <a:pt x="17250" y="16780"/>
                    <a:pt x="17300" y="16780"/>
                    <a:pt x="17300" y="16780"/>
                  </a:cubicBezTo>
                  <a:cubicBezTo>
                    <a:pt x="17400" y="16738"/>
                    <a:pt x="17500" y="16653"/>
                    <a:pt x="17600" y="16610"/>
                  </a:cubicBezTo>
                  <a:cubicBezTo>
                    <a:pt x="17600" y="16610"/>
                    <a:pt x="17600" y="16610"/>
                    <a:pt x="17600" y="16610"/>
                  </a:cubicBezTo>
                  <a:cubicBezTo>
                    <a:pt x="19100" y="17839"/>
                    <a:pt x="19100" y="17839"/>
                    <a:pt x="19100" y="17839"/>
                  </a:cubicBezTo>
                  <a:cubicBezTo>
                    <a:pt x="17450" y="18898"/>
                    <a:pt x="15500" y="19575"/>
                    <a:pt x="13450" y="19745"/>
                  </a:cubicBezTo>
                  <a:close/>
                </a:path>
              </a:pathLst>
            </a:custGeom>
            <a:solidFill>
              <a:srgbClr val="0075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5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328233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A0C533-C6A7-DCE6-40BB-3064B5D857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E007B2-213A-B1B5-CCA4-6CE06D6938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298A04-A8BB-734F-1187-80495A380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E60EDCC-66AC-ECFE-DB5F-FB256CE1F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E64D70-C55A-C8F1-BC0C-1AAD75D43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183635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E7CBF6-64A6-5050-6EDA-5E387248B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678A62A-80F6-513C-DA50-E90F17EDD0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9962ED-2E2D-8CEF-419D-7E3A9EEA6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FFB3D19-99D0-97D0-F096-CDA31F925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5ED152-32F7-E193-36DE-158C6CED1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604707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F43BA2-5323-CBAE-B467-785B7DC8F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4D10943-C115-2AE9-2167-0422774587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C44796-6778-7C8F-04DF-3570779C1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ABE545-7658-4B1D-7758-99C4DA6F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2E666C-D02E-5C8B-DDE8-62CD8F5DD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701651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B46EE9-C206-40E6-211F-EE0D8D39C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EC2A116-73EE-DE60-C0EA-90204E0621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8AB7190-918E-D9A6-5D9B-4EC459F53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238B590-A198-1EA2-6552-FBD7DE178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E4B5E6-524D-3D60-C59E-6CE3C6EE5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382047-2520-3F49-C115-94FBFCB2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935706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21952F-3CB7-A286-35FA-59C2509F8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2E1BE5A-E9EF-6FD9-365D-24DFFEE2EE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F77396-4C72-EA8B-D05C-8D4734B496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1080872-E787-F120-7D18-30AE2B5DE4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52D8DD0-9030-BE73-E859-59B9354785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B5CE095-C263-6604-5D68-1D6918BF7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A2DB07C-A6A9-AFDE-0A85-DC4AEBE97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95EB520-E32B-D959-932C-57C9B8B3C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859439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B83409-5179-2FB4-4749-859A87708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8EC531-04CC-0E0E-E77E-54972AD9B1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026F14-7066-562D-AA8E-0EE428D62C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28F06E-C499-4C4A-AEBD-3CF34891B2CB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DB5610-1EA3-68A6-8672-A86E2AF59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5C02FB-404A-85A3-DD69-C84FE2D19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C60FF0-CB54-489A-8041-AD8D5E18EB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95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7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5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DADB0B-0438-64BD-63D4-3B9395358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7372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DADB0B-0438-64BD-63D4-3B9395358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6"/>
          <p:cNvGrpSpPr/>
          <p:nvPr/>
        </p:nvGrpSpPr>
        <p:grpSpPr>
          <a:xfrm>
            <a:off x="7449517" y="-11671"/>
            <a:ext cx="4764254" cy="6881343"/>
            <a:chOff x="0" y="0"/>
            <a:chExt cx="4764253" cy="6881342"/>
          </a:xfrm>
        </p:grpSpPr>
        <p:sp>
          <p:nvSpPr>
            <p:cNvPr id="2" name="Freeform 5"/>
            <p:cNvSpPr/>
            <p:nvPr/>
          </p:nvSpPr>
          <p:spPr>
            <a:xfrm>
              <a:off x="2546877" y="1926075"/>
              <a:ext cx="2217376" cy="30148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85"/>
                  </a:moveTo>
                  <a:cubicBezTo>
                    <a:pt x="0" y="16766"/>
                    <a:pt x="6624" y="21600"/>
                    <a:pt x="14729" y="21600"/>
                  </a:cubicBezTo>
                  <a:cubicBezTo>
                    <a:pt x="17198" y="21600"/>
                    <a:pt x="19543" y="21147"/>
                    <a:pt x="21600" y="20361"/>
                  </a:cubicBezTo>
                  <a:cubicBezTo>
                    <a:pt x="21600" y="16374"/>
                    <a:pt x="21600" y="16374"/>
                    <a:pt x="21600" y="16374"/>
                  </a:cubicBezTo>
                  <a:cubicBezTo>
                    <a:pt x="19790" y="17582"/>
                    <a:pt x="17362" y="18307"/>
                    <a:pt x="14729" y="18307"/>
                  </a:cubicBezTo>
                  <a:cubicBezTo>
                    <a:pt x="9093" y="18307"/>
                    <a:pt x="4485" y="14924"/>
                    <a:pt x="4485" y="10785"/>
                  </a:cubicBezTo>
                  <a:cubicBezTo>
                    <a:pt x="4485" y="6676"/>
                    <a:pt x="9093" y="3293"/>
                    <a:pt x="14729" y="3293"/>
                  </a:cubicBezTo>
                  <a:cubicBezTo>
                    <a:pt x="17362" y="3293"/>
                    <a:pt x="19790" y="4018"/>
                    <a:pt x="21600" y="5226"/>
                  </a:cubicBezTo>
                  <a:cubicBezTo>
                    <a:pt x="21600" y="1239"/>
                    <a:pt x="21600" y="1239"/>
                    <a:pt x="21600" y="1239"/>
                  </a:cubicBezTo>
                  <a:cubicBezTo>
                    <a:pt x="19543" y="453"/>
                    <a:pt x="17198" y="0"/>
                    <a:pt x="14729" y="0"/>
                  </a:cubicBezTo>
                  <a:cubicBezTo>
                    <a:pt x="6624" y="0"/>
                    <a:pt x="0" y="4834"/>
                    <a:pt x="0" y="10785"/>
                  </a:cubicBezTo>
                  <a:close/>
                </a:path>
              </a:pathLst>
            </a:custGeom>
            <a:noFill/>
            <a:ln w="22225" cap="flat">
              <a:solidFill>
                <a:srgbClr val="ED6B1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3" name="Freeform 6"/>
            <p:cNvSpPr/>
            <p:nvPr/>
          </p:nvSpPr>
          <p:spPr>
            <a:xfrm>
              <a:off x="-1" y="0"/>
              <a:ext cx="4764254" cy="68813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8344"/>
                  </a:moveTo>
                  <a:cubicBezTo>
                    <a:pt x="20604" y="18543"/>
                    <a:pt x="19532" y="18649"/>
                    <a:pt x="18421" y="18649"/>
                  </a:cubicBezTo>
                  <a:cubicBezTo>
                    <a:pt x="12121" y="18649"/>
                    <a:pt x="6989" y="15128"/>
                    <a:pt x="6989" y="10800"/>
                  </a:cubicBezTo>
                  <a:cubicBezTo>
                    <a:pt x="6989" y="6472"/>
                    <a:pt x="12121" y="2951"/>
                    <a:pt x="18421" y="2951"/>
                  </a:cubicBezTo>
                  <a:cubicBezTo>
                    <a:pt x="19532" y="2951"/>
                    <a:pt x="20604" y="3057"/>
                    <a:pt x="21600" y="3269"/>
                  </a:cubicBezTo>
                  <a:cubicBezTo>
                    <a:pt x="21600" y="1760"/>
                    <a:pt x="21600" y="1760"/>
                    <a:pt x="21600" y="1760"/>
                  </a:cubicBezTo>
                  <a:cubicBezTo>
                    <a:pt x="20585" y="1601"/>
                    <a:pt x="19532" y="1509"/>
                    <a:pt x="18421" y="1509"/>
                  </a:cubicBezTo>
                  <a:cubicBezTo>
                    <a:pt x="17598" y="1509"/>
                    <a:pt x="16774" y="1562"/>
                    <a:pt x="15970" y="1668"/>
                  </a:cubicBezTo>
                  <a:cubicBezTo>
                    <a:pt x="15357" y="0"/>
                    <a:pt x="15357" y="0"/>
                    <a:pt x="15357" y="0"/>
                  </a:cubicBezTo>
                  <a:cubicBezTo>
                    <a:pt x="8866" y="0"/>
                    <a:pt x="8866" y="0"/>
                    <a:pt x="8866" y="0"/>
                  </a:cubicBezTo>
                  <a:cubicBezTo>
                    <a:pt x="7621" y="516"/>
                    <a:pt x="6453" y="1138"/>
                    <a:pt x="5400" y="1866"/>
                  </a:cubicBezTo>
                  <a:cubicBezTo>
                    <a:pt x="1915" y="4249"/>
                    <a:pt x="0" y="7425"/>
                    <a:pt x="0" y="10800"/>
                  </a:cubicBezTo>
                  <a:cubicBezTo>
                    <a:pt x="0" y="14175"/>
                    <a:pt x="1915" y="17351"/>
                    <a:pt x="5400" y="19734"/>
                  </a:cubicBezTo>
                  <a:cubicBezTo>
                    <a:pt x="6453" y="20462"/>
                    <a:pt x="7621" y="21084"/>
                    <a:pt x="8847" y="21600"/>
                  </a:cubicBezTo>
                  <a:cubicBezTo>
                    <a:pt x="15338" y="21600"/>
                    <a:pt x="15338" y="21600"/>
                    <a:pt x="15338" y="21600"/>
                  </a:cubicBezTo>
                  <a:cubicBezTo>
                    <a:pt x="15951" y="19932"/>
                    <a:pt x="15951" y="19932"/>
                    <a:pt x="15951" y="19932"/>
                  </a:cubicBezTo>
                  <a:cubicBezTo>
                    <a:pt x="16755" y="20038"/>
                    <a:pt x="17579" y="20091"/>
                    <a:pt x="18421" y="20091"/>
                  </a:cubicBezTo>
                  <a:cubicBezTo>
                    <a:pt x="19532" y="20091"/>
                    <a:pt x="20585" y="19999"/>
                    <a:pt x="21600" y="19840"/>
                  </a:cubicBezTo>
                  <a:lnTo>
                    <a:pt x="21600" y="18344"/>
                  </a:lnTo>
                  <a:close/>
                  <a:moveTo>
                    <a:pt x="13194" y="199"/>
                  </a:moveTo>
                  <a:cubicBezTo>
                    <a:pt x="13883" y="2051"/>
                    <a:pt x="13883" y="2051"/>
                    <a:pt x="13883" y="2051"/>
                  </a:cubicBezTo>
                  <a:cubicBezTo>
                    <a:pt x="8962" y="3256"/>
                    <a:pt x="5362" y="6353"/>
                    <a:pt x="4921" y="10046"/>
                  </a:cubicBezTo>
                  <a:cubicBezTo>
                    <a:pt x="2145" y="10046"/>
                    <a:pt x="2145" y="10046"/>
                    <a:pt x="2145" y="10046"/>
                  </a:cubicBezTo>
                  <a:cubicBezTo>
                    <a:pt x="2585" y="5466"/>
                    <a:pt x="7085" y="1615"/>
                    <a:pt x="13194" y="199"/>
                  </a:cubicBezTo>
                  <a:close/>
                  <a:moveTo>
                    <a:pt x="13174" y="21401"/>
                  </a:moveTo>
                  <a:cubicBezTo>
                    <a:pt x="7066" y="19972"/>
                    <a:pt x="2585" y="16121"/>
                    <a:pt x="2145" y="11541"/>
                  </a:cubicBezTo>
                  <a:cubicBezTo>
                    <a:pt x="4921" y="11541"/>
                    <a:pt x="4921" y="11541"/>
                    <a:pt x="4921" y="11541"/>
                  </a:cubicBezTo>
                  <a:cubicBezTo>
                    <a:pt x="5343" y="15234"/>
                    <a:pt x="8943" y="18331"/>
                    <a:pt x="13845" y="19549"/>
                  </a:cubicBezTo>
                  <a:lnTo>
                    <a:pt x="13174" y="21401"/>
                  </a:lnTo>
                  <a:close/>
                </a:path>
              </a:pathLst>
            </a:custGeom>
            <a:noFill/>
            <a:ln w="22225" cap="flat">
              <a:solidFill>
                <a:srgbClr val="ED6B1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9" rIns="45719" anchor="ctr"/>
          <a:lstStyle/>
          <a:p>
            <a:r>
              <a:t>Title Text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9" rIns="45719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6" name="Рисунок 4">
            <a:extLst>
              <a:ext uri="{FF2B5EF4-FFF2-40B4-BE49-F238E27FC236}">
                <a16:creationId xmlns:a16="http://schemas.microsoft.com/office/drawing/2014/main" id="{58EF52FA-3925-4382-8BBC-5E1865C672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4911" y="5649336"/>
            <a:ext cx="3577274" cy="49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89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ransition>
    <p:fade/>
  </p:transition>
  <p:hf hdr="0" dt="0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20E6BB-001B-9055-2712-DE3A1B3A9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C584C2D-C691-9CAD-C3C0-0E871949A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48A696-C53F-7C2C-DFB2-815C95A161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8D0F10-8D0D-D25A-3CD0-4CCDD8AEDC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97EA4A-ED9C-D41C-6119-386796C19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31239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8" r:id="rId8"/>
    <p:sldLayoutId id="2147483684" r:id="rId9"/>
    <p:sldLayoutId id="2147483685" r:id="rId10"/>
    <p:sldLayoutId id="2147483686" r:id="rId11"/>
    <p:sldLayoutId id="214748368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20E6BB-001B-9055-2712-DE3A1B3A9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C584C2D-C691-9CAD-C3C0-0E871949A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48A696-C53F-7C2C-DFB2-815C95A161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68B586-D399-4B9B-A855-F510CBA95C6A}" type="datetimeFigureOut">
              <a:rPr lang="ru-KZ" smtClean="0"/>
              <a:t>24.10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8D0F10-8D0D-D25A-3CD0-4CCDD8AEDC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97EA4A-ED9C-D41C-6119-386796C19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727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Text Placeholder 15"/>
          <p:cNvSpPr txBox="1">
            <a:spLocks noGrp="1"/>
          </p:cNvSpPr>
          <p:nvPr>
            <p:ph type="body" sz="quarter" idx="1"/>
          </p:nvPr>
        </p:nvSpPr>
        <p:spPr>
          <a:xfrm>
            <a:off x="651709" y="1031834"/>
            <a:ext cx="6941826" cy="2003426"/>
          </a:xfrm>
          <a:prstGeom prst="rect">
            <a:avLst/>
          </a:prstGeom>
        </p:spPr>
        <p:txBody>
          <a:bodyPr/>
          <a:lstStyle/>
          <a:p>
            <a:r>
              <a:rPr lang="ru-RU" sz="4000">
                <a:latin typeface="Montserrat" panose="00000500000000000000" pitchFamily="2" charset="-52"/>
              </a:rPr>
              <a:t>Рынок</a:t>
            </a:r>
            <a:r>
              <a:rPr lang="en-US" sz="4000">
                <a:latin typeface="Montserrat" panose="00000500000000000000" pitchFamily="2" charset="-52"/>
              </a:rPr>
              <a:t> </a:t>
            </a:r>
            <a:r>
              <a:rPr lang="ru-RU" sz="4000">
                <a:latin typeface="Montserrat" panose="00000500000000000000" pitchFamily="2" charset="-52"/>
              </a:rPr>
              <a:t>капитала</a:t>
            </a:r>
            <a:endParaRPr lang="en-US" sz="4000">
              <a:latin typeface="Montserrat" panose="00000500000000000000" pitchFamily="2" charset="-52"/>
            </a:endParaRPr>
          </a:p>
          <a:p>
            <a:r>
              <a:rPr lang="ru-RU" sz="2800" b="0">
                <a:latin typeface="Montserrat" panose="00000500000000000000" pitchFamily="2" charset="-52"/>
              </a:rPr>
              <a:t>Квартальный обзор</a:t>
            </a:r>
            <a:endParaRPr lang="en-US" sz="2400" b="0">
              <a:latin typeface="Montserrat" panose="00000500000000000000" pitchFamily="2" charset="-52"/>
            </a:endParaRPr>
          </a:p>
        </p:txBody>
      </p:sp>
      <p:sp>
        <p:nvSpPr>
          <p:cNvPr id="166" name="Straight Connector 13"/>
          <p:cNvSpPr/>
          <p:nvPr/>
        </p:nvSpPr>
        <p:spPr>
          <a:xfrm flipV="1">
            <a:off x="651710" y="2299855"/>
            <a:ext cx="927880" cy="3289"/>
          </a:xfrm>
          <a:prstGeom prst="line">
            <a:avLst/>
          </a:prstGeom>
          <a:ln w="1905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7" name="Text Placeholder 17"/>
          <p:cNvSpPr>
            <a:spLocks noGrp="1"/>
          </p:cNvSpPr>
          <p:nvPr>
            <p:ph type="body" idx="13"/>
          </p:nvPr>
        </p:nvSpPr>
        <p:spPr>
          <a:xfrm>
            <a:off x="651709" y="2557037"/>
            <a:ext cx="6941826" cy="2003426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>
                <a:latin typeface="Montserrat"/>
                <a:cs typeface="Mongolian Baiti"/>
              </a:rPr>
              <a:t> </a:t>
            </a:r>
            <a:r>
              <a:rPr lang="ru-RU">
                <a:latin typeface="Montserrat"/>
                <a:cs typeface="Mongolian Baiti"/>
              </a:rPr>
              <a:t>3-й квартал 2025</a:t>
            </a:r>
            <a:r>
              <a:rPr lang="en-US">
                <a:latin typeface="Montserrat"/>
                <a:cs typeface="Mongolian Baiti"/>
              </a:rPr>
              <a:t> </a:t>
            </a:r>
            <a:r>
              <a:rPr lang="ru-RU">
                <a:latin typeface="Montserrat"/>
                <a:cs typeface="Mongolian Baiti"/>
              </a:rPr>
              <a:t>года</a:t>
            </a:r>
            <a:endParaRPr lang="en-US">
              <a:latin typeface="Montserrat"/>
              <a:cs typeface="Mongolian Baiti"/>
            </a:endParaRPr>
          </a:p>
          <a:p>
            <a:endParaRPr/>
          </a:p>
        </p:txBody>
      </p:sp>
      <p:grpSp>
        <p:nvGrpSpPr>
          <p:cNvPr id="174" name="Group 4"/>
          <p:cNvGrpSpPr/>
          <p:nvPr/>
        </p:nvGrpSpPr>
        <p:grpSpPr>
          <a:xfrm>
            <a:off x="604152" y="5766351"/>
            <a:ext cx="1545092" cy="510072"/>
            <a:chOff x="0" y="0"/>
            <a:chExt cx="1545091" cy="510070"/>
          </a:xfrm>
        </p:grpSpPr>
        <p:sp>
          <p:nvSpPr>
            <p:cNvPr id="168" name="Freeform 5"/>
            <p:cNvSpPr/>
            <p:nvPr/>
          </p:nvSpPr>
          <p:spPr>
            <a:xfrm>
              <a:off x="538440" y="91162"/>
              <a:ext cx="325147" cy="3260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07" y="21600"/>
                  </a:moveTo>
                  <a:lnTo>
                    <a:pt x="15379" y="17636"/>
                  </a:lnTo>
                  <a:lnTo>
                    <a:pt x="6221" y="17636"/>
                  </a:lnTo>
                  <a:lnTo>
                    <a:pt x="4435" y="21600"/>
                  </a:lnTo>
                  <a:lnTo>
                    <a:pt x="0" y="21600"/>
                  </a:lnTo>
                  <a:lnTo>
                    <a:pt x="10483" y="0"/>
                  </a:lnTo>
                  <a:lnTo>
                    <a:pt x="11059" y="0"/>
                  </a:lnTo>
                  <a:lnTo>
                    <a:pt x="21600" y="21600"/>
                  </a:lnTo>
                  <a:lnTo>
                    <a:pt x="17107" y="21600"/>
                  </a:lnTo>
                  <a:close/>
                  <a:moveTo>
                    <a:pt x="7488" y="14591"/>
                  </a:moveTo>
                  <a:lnTo>
                    <a:pt x="14054" y="14591"/>
                  </a:lnTo>
                  <a:lnTo>
                    <a:pt x="10771" y="7411"/>
                  </a:lnTo>
                  <a:lnTo>
                    <a:pt x="7488" y="1459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9" name="Rectangle 6"/>
            <p:cNvSpPr/>
            <p:nvPr/>
          </p:nvSpPr>
          <p:spPr>
            <a:xfrm>
              <a:off x="912141" y="99832"/>
              <a:ext cx="63295" cy="31734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0" name="Freeform 7"/>
            <p:cNvSpPr/>
            <p:nvPr/>
          </p:nvSpPr>
          <p:spPr>
            <a:xfrm>
              <a:off x="1056939" y="99832"/>
              <a:ext cx="176013" cy="3173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67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3423"/>
                  </a:lnTo>
                  <a:lnTo>
                    <a:pt x="7767" y="3423"/>
                  </a:lnTo>
                  <a:lnTo>
                    <a:pt x="7767" y="8144"/>
                  </a:lnTo>
                  <a:lnTo>
                    <a:pt x="17344" y="8144"/>
                  </a:lnTo>
                  <a:lnTo>
                    <a:pt x="17344" y="11508"/>
                  </a:lnTo>
                  <a:lnTo>
                    <a:pt x="7767" y="11508"/>
                  </a:lnTo>
                  <a:lnTo>
                    <a:pt x="7767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1" name="Freeform 8"/>
            <p:cNvSpPr/>
            <p:nvPr/>
          </p:nvSpPr>
          <p:spPr>
            <a:xfrm>
              <a:off x="1262431" y="95497"/>
              <a:ext cx="282661" cy="3251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32"/>
                  </a:moveTo>
                  <a:cubicBezTo>
                    <a:pt x="0" y="4279"/>
                    <a:pt x="5069" y="0"/>
                    <a:pt x="12710" y="0"/>
                  </a:cubicBezTo>
                  <a:cubicBezTo>
                    <a:pt x="15440" y="0"/>
                    <a:pt x="18793" y="815"/>
                    <a:pt x="20664" y="1970"/>
                  </a:cubicBezTo>
                  <a:cubicBezTo>
                    <a:pt x="20274" y="5570"/>
                    <a:pt x="20274" y="5570"/>
                    <a:pt x="20274" y="5570"/>
                  </a:cubicBezTo>
                  <a:cubicBezTo>
                    <a:pt x="18325" y="4279"/>
                    <a:pt x="15284" y="3396"/>
                    <a:pt x="12944" y="3396"/>
                  </a:cubicBezTo>
                  <a:cubicBezTo>
                    <a:pt x="8188" y="3396"/>
                    <a:pt x="4991" y="6385"/>
                    <a:pt x="4991" y="10732"/>
                  </a:cubicBezTo>
                  <a:cubicBezTo>
                    <a:pt x="4991" y="15147"/>
                    <a:pt x="8188" y="18204"/>
                    <a:pt x="12944" y="18204"/>
                  </a:cubicBezTo>
                  <a:cubicBezTo>
                    <a:pt x="15830" y="18204"/>
                    <a:pt x="18325" y="17117"/>
                    <a:pt x="19729" y="16030"/>
                  </a:cubicBezTo>
                  <a:cubicBezTo>
                    <a:pt x="21600" y="19087"/>
                    <a:pt x="21600" y="19087"/>
                    <a:pt x="21600" y="19087"/>
                  </a:cubicBezTo>
                  <a:cubicBezTo>
                    <a:pt x="18949" y="20717"/>
                    <a:pt x="16064" y="21600"/>
                    <a:pt x="12710" y="21600"/>
                  </a:cubicBezTo>
                  <a:cubicBezTo>
                    <a:pt x="5069" y="21600"/>
                    <a:pt x="0" y="17253"/>
                    <a:pt x="0" y="1073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2" name="Freeform 9"/>
            <p:cNvSpPr/>
            <p:nvPr/>
          </p:nvSpPr>
          <p:spPr>
            <a:xfrm>
              <a:off x="156069" y="154457"/>
              <a:ext cx="192487" cy="1942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57"/>
                  </a:moveTo>
                  <a:cubicBezTo>
                    <a:pt x="0" y="16800"/>
                    <a:pt x="4800" y="21600"/>
                    <a:pt x="10743" y="21600"/>
                  </a:cubicBezTo>
                  <a:cubicBezTo>
                    <a:pt x="16686" y="21600"/>
                    <a:pt x="21600" y="16800"/>
                    <a:pt x="21600" y="10857"/>
                  </a:cubicBezTo>
                  <a:cubicBezTo>
                    <a:pt x="21600" y="4914"/>
                    <a:pt x="16686" y="0"/>
                    <a:pt x="10743" y="0"/>
                  </a:cubicBezTo>
                  <a:cubicBezTo>
                    <a:pt x="4800" y="0"/>
                    <a:pt x="0" y="4914"/>
                    <a:pt x="0" y="10857"/>
                  </a:cubicBezTo>
                  <a:close/>
                  <a:moveTo>
                    <a:pt x="18400" y="10857"/>
                  </a:moveTo>
                  <a:cubicBezTo>
                    <a:pt x="18400" y="15086"/>
                    <a:pt x="14971" y="18514"/>
                    <a:pt x="10743" y="18514"/>
                  </a:cubicBezTo>
                  <a:cubicBezTo>
                    <a:pt x="6514" y="18514"/>
                    <a:pt x="3086" y="15086"/>
                    <a:pt x="3086" y="10857"/>
                  </a:cubicBezTo>
                  <a:cubicBezTo>
                    <a:pt x="3086" y="6629"/>
                    <a:pt x="6514" y="3200"/>
                    <a:pt x="10743" y="3200"/>
                  </a:cubicBezTo>
                  <a:cubicBezTo>
                    <a:pt x="14971" y="3200"/>
                    <a:pt x="18400" y="6629"/>
                    <a:pt x="18400" y="1085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3" name="Freeform 10"/>
            <p:cNvSpPr/>
            <p:nvPr/>
          </p:nvSpPr>
          <p:spPr>
            <a:xfrm>
              <a:off x="0" y="0"/>
              <a:ext cx="440464" cy="510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08" extrusionOk="0">
                  <a:moveTo>
                    <a:pt x="17700" y="14916"/>
                  </a:moveTo>
                  <a:cubicBezTo>
                    <a:pt x="17700" y="14916"/>
                    <a:pt x="17650" y="14916"/>
                    <a:pt x="17650" y="14959"/>
                  </a:cubicBezTo>
                  <a:cubicBezTo>
                    <a:pt x="17650" y="14959"/>
                    <a:pt x="17650" y="14959"/>
                    <a:pt x="17650" y="14959"/>
                  </a:cubicBezTo>
                  <a:cubicBezTo>
                    <a:pt x="16300" y="16102"/>
                    <a:pt x="14400" y="16780"/>
                    <a:pt x="12350" y="16780"/>
                  </a:cubicBezTo>
                  <a:cubicBezTo>
                    <a:pt x="9150" y="16780"/>
                    <a:pt x="6450" y="15086"/>
                    <a:pt x="5350" y="12672"/>
                  </a:cubicBezTo>
                  <a:cubicBezTo>
                    <a:pt x="5350" y="12672"/>
                    <a:pt x="5350" y="12629"/>
                    <a:pt x="5350" y="12629"/>
                  </a:cubicBezTo>
                  <a:cubicBezTo>
                    <a:pt x="5300" y="12587"/>
                    <a:pt x="5300" y="12545"/>
                    <a:pt x="5300" y="12545"/>
                  </a:cubicBezTo>
                  <a:cubicBezTo>
                    <a:pt x="4400" y="10342"/>
                    <a:pt x="4950" y="7801"/>
                    <a:pt x="7050" y="6022"/>
                  </a:cubicBezTo>
                  <a:cubicBezTo>
                    <a:pt x="7000" y="6022"/>
                    <a:pt x="7000" y="6022"/>
                    <a:pt x="7000" y="6022"/>
                  </a:cubicBezTo>
                  <a:cubicBezTo>
                    <a:pt x="7750" y="5387"/>
                    <a:pt x="8700" y="4879"/>
                    <a:pt x="9700" y="4540"/>
                  </a:cubicBezTo>
                  <a:cubicBezTo>
                    <a:pt x="9700" y="4540"/>
                    <a:pt x="9700" y="4540"/>
                    <a:pt x="9700" y="4540"/>
                  </a:cubicBezTo>
                  <a:cubicBezTo>
                    <a:pt x="12350" y="3693"/>
                    <a:pt x="15450" y="4159"/>
                    <a:pt x="17600" y="5938"/>
                  </a:cubicBezTo>
                  <a:cubicBezTo>
                    <a:pt x="18150" y="6361"/>
                    <a:pt x="18150" y="6361"/>
                    <a:pt x="18150" y="6361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1600" y="3396"/>
                    <a:pt x="21600" y="3396"/>
                    <a:pt x="21600" y="3396"/>
                  </a:cubicBezTo>
                  <a:cubicBezTo>
                    <a:pt x="21450" y="3269"/>
                    <a:pt x="21350" y="3142"/>
                    <a:pt x="21200" y="3015"/>
                  </a:cubicBezTo>
                  <a:cubicBezTo>
                    <a:pt x="18450" y="770"/>
                    <a:pt x="14850" y="-246"/>
                    <a:pt x="11300" y="50"/>
                  </a:cubicBezTo>
                  <a:cubicBezTo>
                    <a:pt x="8450" y="262"/>
                    <a:pt x="5700" y="1321"/>
                    <a:pt x="3550" y="3142"/>
                  </a:cubicBezTo>
                  <a:cubicBezTo>
                    <a:pt x="1400" y="5006"/>
                    <a:pt x="250" y="7378"/>
                    <a:pt x="50" y="9792"/>
                  </a:cubicBezTo>
                  <a:cubicBezTo>
                    <a:pt x="0" y="9792"/>
                    <a:pt x="0" y="9792"/>
                    <a:pt x="0" y="9792"/>
                  </a:cubicBezTo>
                  <a:cubicBezTo>
                    <a:pt x="0" y="10130"/>
                    <a:pt x="0" y="10130"/>
                    <a:pt x="0" y="10130"/>
                  </a:cubicBezTo>
                  <a:cubicBezTo>
                    <a:pt x="0" y="10469"/>
                    <a:pt x="0" y="10469"/>
                    <a:pt x="0" y="10469"/>
                  </a:cubicBezTo>
                  <a:cubicBezTo>
                    <a:pt x="0" y="10766"/>
                    <a:pt x="0" y="10766"/>
                    <a:pt x="0" y="10766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150" y="13603"/>
                    <a:pt x="1400" y="16145"/>
                    <a:pt x="3750" y="18093"/>
                  </a:cubicBezTo>
                  <a:cubicBezTo>
                    <a:pt x="6450" y="20338"/>
                    <a:pt x="10100" y="21354"/>
                    <a:pt x="13600" y="21058"/>
                  </a:cubicBezTo>
                  <a:cubicBezTo>
                    <a:pt x="16450" y="20846"/>
                    <a:pt x="19200" y="19787"/>
                    <a:pt x="21350" y="17966"/>
                  </a:cubicBezTo>
                  <a:cubicBezTo>
                    <a:pt x="18750" y="15763"/>
                    <a:pt x="18750" y="15763"/>
                    <a:pt x="18750" y="15763"/>
                  </a:cubicBezTo>
                  <a:lnTo>
                    <a:pt x="17700" y="14916"/>
                  </a:lnTo>
                  <a:close/>
                  <a:moveTo>
                    <a:pt x="11450" y="1363"/>
                  </a:moveTo>
                  <a:cubicBezTo>
                    <a:pt x="11450" y="1363"/>
                    <a:pt x="11450" y="1363"/>
                    <a:pt x="11450" y="1363"/>
                  </a:cubicBezTo>
                  <a:cubicBezTo>
                    <a:pt x="14350" y="1152"/>
                    <a:pt x="17200" y="1914"/>
                    <a:pt x="19450" y="3481"/>
                  </a:cubicBezTo>
                  <a:cubicBezTo>
                    <a:pt x="18100" y="4625"/>
                    <a:pt x="18100" y="4625"/>
                    <a:pt x="18100" y="4625"/>
                  </a:cubicBezTo>
                  <a:cubicBezTo>
                    <a:pt x="16000" y="3142"/>
                    <a:pt x="13300" y="2634"/>
                    <a:pt x="10750" y="3015"/>
                  </a:cubicBezTo>
                  <a:cubicBezTo>
                    <a:pt x="10300" y="1533"/>
                    <a:pt x="10300" y="1533"/>
                    <a:pt x="10300" y="1533"/>
                  </a:cubicBezTo>
                  <a:cubicBezTo>
                    <a:pt x="10700" y="1448"/>
                    <a:pt x="11050" y="1406"/>
                    <a:pt x="11450" y="1363"/>
                  </a:cubicBezTo>
                  <a:close/>
                  <a:moveTo>
                    <a:pt x="4700" y="4116"/>
                  </a:moveTo>
                  <a:cubicBezTo>
                    <a:pt x="5900" y="3058"/>
                    <a:pt x="7300" y="2295"/>
                    <a:pt x="8900" y="1829"/>
                  </a:cubicBezTo>
                  <a:cubicBezTo>
                    <a:pt x="9300" y="3227"/>
                    <a:pt x="9300" y="3227"/>
                    <a:pt x="9300" y="3227"/>
                  </a:cubicBezTo>
                  <a:cubicBezTo>
                    <a:pt x="9350" y="3354"/>
                    <a:pt x="9350" y="3354"/>
                    <a:pt x="9350" y="3354"/>
                  </a:cubicBezTo>
                  <a:cubicBezTo>
                    <a:pt x="8050" y="3735"/>
                    <a:pt x="6900" y="4370"/>
                    <a:pt x="6000" y="5175"/>
                  </a:cubicBezTo>
                  <a:cubicBezTo>
                    <a:pt x="6000" y="5133"/>
                    <a:pt x="6000" y="5133"/>
                    <a:pt x="6000" y="5133"/>
                  </a:cubicBezTo>
                  <a:cubicBezTo>
                    <a:pt x="4450" y="6446"/>
                    <a:pt x="3650" y="8098"/>
                    <a:pt x="3450" y="9792"/>
                  </a:cubicBezTo>
                  <a:cubicBezTo>
                    <a:pt x="1600" y="9792"/>
                    <a:pt x="1600" y="9792"/>
                    <a:pt x="1600" y="9792"/>
                  </a:cubicBezTo>
                  <a:cubicBezTo>
                    <a:pt x="1800" y="7674"/>
                    <a:pt x="2900" y="5641"/>
                    <a:pt x="4700" y="4116"/>
                  </a:cubicBezTo>
                  <a:close/>
                  <a:moveTo>
                    <a:pt x="8650" y="19194"/>
                  </a:moveTo>
                  <a:cubicBezTo>
                    <a:pt x="7250" y="18728"/>
                    <a:pt x="5950" y="18050"/>
                    <a:pt x="4850" y="17119"/>
                  </a:cubicBezTo>
                  <a:cubicBezTo>
                    <a:pt x="2900" y="15509"/>
                    <a:pt x="1750" y="13349"/>
                    <a:pt x="1600" y="11020"/>
                  </a:cubicBezTo>
                  <a:cubicBezTo>
                    <a:pt x="3450" y="11020"/>
                    <a:pt x="3450" y="11020"/>
                    <a:pt x="3450" y="11020"/>
                  </a:cubicBezTo>
                  <a:cubicBezTo>
                    <a:pt x="3600" y="12799"/>
                    <a:pt x="4500" y="14535"/>
                    <a:pt x="6100" y="15848"/>
                  </a:cubicBezTo>
                  <a:cubicBezTo>
                    <a:pt x="7000" y="16610"/>
                    <a:pt x="8050" y="17161"/>
                    <a:pt x="9150" y="17542"/>
                  </a:cubicBezTo>
                  <a:lnTo>
                    <a:pt x="8650" y="19194"/>
                  </a:lnTo>
                  <a:close/>
                  <a:moveTo>
                    <a:pt x="13450" y="19745"/>
                  </a:moveTo>
                  <a:cubicBezTo>
                    <a:pt x="12300" y="19829"/>
                    <a:pt x="11150" y="19745"/>
                    <a:pt x="10050" y="19533"/>
                  </a:cubicBezTo>
                  <a:cubicBezTo>
                    <a:pt x="10550" y="17881"/>
                    <a:pt x="10550" y="17881"/>
                    <a:pt x="10550" y="17881"/>
                  </a:cubicBezTo>
                  <a:cubicBezTo>
                    <a:pt x="10850" y="17923"/>
                    <a:pt x="11150" y="17966"/>
                    <a:pt x="11400" y="18008"/>
                  </a:cubicBezTo>
                  <a:cubicBezTo>
                    <a:pt x="11450" y="18008"/>
                    <a:pt x="11500" y="18008"/>
                    <a:pt x="11550" y="18008"/>
                  </a:cubicBezTo>
                  <a:cubicBezTo>
                    <a:pt x="11650" y="18008"/>
                    <a:pt x="11750" y="18008"/>
                    <a:pt x="11850" y="18008"/>
                  </a:cubicBezTo>
                  <a:cubicBezTo>
                    <a:pt x="11900" y="18008"/>
                    <a:pt x="11950" y="18008"/>
                    <a:pt x="12000" y="18008"/>
                  </a:cubicBezTo>
                  <a:cubicBezTo>
                    <a:pt x="12100" y="18008"/>
                    <a:pt x="12150" y="18008"/>
                    <a:pt x="12250" y="18050"/>
                  </a:cubicBezTo>
                  <a:cubicBezTo>
                    <a:pt x="12300" y="18050"/>
                    <a:pt x="12350" y="18050"/>
                    <a:pt x="12350" y="18050"/>
                  </a:cubicBezTo>
                  <a:cubicBezTo>
                    <a:pt x="12400" y="18050"/>
                    <a:pt x="12450" y="18050"/>
                    <a:pt x="12450" y="18050"/>
                  </a:cubicBezTo>
                  <a:cubicBezTo>
                    <a:pt x="12500" y="18050"/>
                    <a:pt x="12550" y="18008"/>
                    <a:pt x="12650" y="18008"/>
                  </a:cubicBezTo>
                  <a:cubicBezTo>
                    <a:pt x="14200" y="18008"/>
                    <a:pt x="15700" y="17627"/>
                    <a:pt x="16950" y="16949"/>
                  </a:cubicBezTo>
                  <a:cubicBezTo>
                    <a:pt x="16950" y="16949"/>
                    <a:pt x="16950" y="16949"/>
                    <a:pt x="16950" y="16949"/>
                  </a:cubicBezTo>
                  <a:cubicBezTo>
                    <a:pt x="17050" y="16907"/>
                    <a:pt x="17150" y="16865"/>
                    <a:pt x="17250" y="16822"/>
                  </a:cubicBezTo>
                  <a:cubicBezTo>
                    <a:pt x="17250" y="16780"/>
                    <a:pt x="17300" y="16780"/>
                    <a:pt x="17300" y="16780"/>
                  </a:cubicBezTo>
                  <a:cubicBezTo>
                    <a:pt x="17400" y="16738"/>
                    <a:pt x="17500" y="16653"/>
                    <a:pt x="17600" y="16610"/>
                  </a:cubicBezTo>
                  <a:cubicBezTo>
                    <a:pt x="17600" y="16610"/>
                    <a:pt x="17600" y="16610"/>
                    <a:pt x="17600" y="16610"/>
                  </a:cubicBezTo>
                  <a:cubicBezTo>
                    <a:pt x="19100" y="17839"/>
                    <a:pt x="19100" y="17839"/>
                    <a:pt x="19100" y="17839"/>
                  </a:cubicBezTo>
                  <a:cubicBezTo>
                    <a:pt x="17450" y="18898"/>
                    <a:pt x="15500" y="19575"/>
                    <a:pt x="13450" y="19745"/>
                  </a:cubicBezTo>
                  <a:close/>
                </a:path>
              </a:pathLst>
            </a:custGeom>
            <a:solidFill>
              <a:srgbClr val="0075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5" name="Freeform 5">
            <a:extLst>
              <a:ext uri="{FF2B5EF4-FFF2-40B4-BE49-F238E27FC236}">
                <a16:creationId xmlns:a16="http://schemas.microsoft.com/office/drawing/2014/main" id="{33B57C85-2F31-4D65-8EA2-156CB832E6A2}"/>
              </a:ext>
            </a:extLst>
          </p:cNvPr>
          <p:cNvSpPr/>
          <p:nvPr/>
        </p:nvSpPr>
        <p:spPr>
          <a:xfrm>
            <a:off x="7456941" y="5366"/>
            <a:ext cx="4751388" cy="6862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66" y="0"/>
                </a:moveTo>
                <a:cubicBezTo>
                  <a:pt x="7621" y="516"/>
                  <a:pt x="6453" y="1138"/>
                  <a:pt x="5400" y="1866"/>
                </a:cubicBezTo>
                <a:cubicBezTo>
                  <a:pt x="1915" y="4249"/>
                  <a:pt x="0" y="7425"/>
                  <a:pt x="0" y="10800"/>
                </a:cubicBezTo>
                <a:cubicBezTo>
                  <a:pt x="0" y="14175"/>
                  <a:pt x="1915" y="17351"/>
                  <a:pt x="5400" y="19734"/>
                </a:cubicBezTo>
                <a:cubicBezTo>
                  <a:pt x="6453" y="20462"/>
                  <a:pt x="7621" y="21084"/>
                  <a:pt x="8846" y="21600"/>
                </a:cubicBezTo>
                <a:cubicBezTo>
                  <a:pt x="15338" y="21600"/>
                  <a:pt x="15338" y="21600"/>
                  <a:pt x="15338" y="21600"/>
                </a:cubicBezTo>
                <a:cubicBezTo>
                  <a:pt x="15950" y="19932"/>
                  <a:pt x="15951" y="19932"/>
                  <a:pt x="15951" y="19932"/>
                </a:cubicBezTo>
                <a:cubicBezTo>
                  <a:pt x="16755" y="20038"/>
                  <a:pt x="17578" y="20091"/>
                  <a:pt x="18421" y="20091"/>
                </a:cubicBezTo>
                <a:cubicBezTo>
                  <a:pt x="19532" y="20091"/>
                  <a:pt x="20585" y="19999"/>
                  <a:pt x="21600" y="19840"/>
                </a:cubicBezTo>
                <a:lnTo>
                  <a:pt x="21600" y="18344"/>
                </a:lnTo>
                <a:cubicBezTo>
                  <a:pt x="20604" y="18542"/>
                  <a:pt x="19532" y="18648"/>
                  <a:pt x="18421" y="18648"/>
                </a:cubicBezTo>
                <a:cubicBezTo>
                  <a:pt x="12121" y="18648"/>
                  <a:pt x="6990" y="15128"/>
                  <a:pt x="6990" y="10800"/>
                </a:cubicBezTo>
                <a:cubicBezTo>
                  <a:pt x="6990" y="6472"/>
                  <a:pt x="12121" y="2952"/>
                  <a:pt x="18421" y="2952"/>
                </a:cubicBezTo>
                <a:cubicBezTo>
                  <a:pt x="19532" y="2952"/>
                  <a:pt x="20604" y="3057"/>
                  <a:pt x="21600" y="3269"/>
                </a:cubicBezTo>
                <a:cubicBezTo>
                  <a:pt x="21600" y="1760"/>
                  <a:pt x="21600" y="1760"/>
                  <a:pt x="21600" y="1760"/>
                </a:cubicBezTo>
                <a:cubicBezTo>
                  <a:pt x="20585" y="1601"/>
                  <a:pt x="19532" y="1509"/>
                  <a:pt x="18421" y="1509"/>
                </a:cubicBezTo>
                <a:cubicBezTo>
                  <a:pt x="17598" y="1509"/>
                  <a:pt x="16775" y="1562"/>
                  <a:pt x="15971" y="1668"/>
                </a:cubicBezTo>
                <a:cubicBezTo>
                  <a:pt x="15358" y="0"/>
                  <a:pt x="15357" y="0"/>
                  <a:pt x="15357" y="0"/>
                </a:cubicBezTo>
                <a:cubicBezTo>
                  <a:pt x="8866" y="0"/>
                  <a:pt x="8866" y="0"/>
                  <a:pt x="8866" y="0"/>
                </a:cubicBezTo>
                <a:close/>
                <a:moveTo>
                  <a:pt x="13194" y="199"/>
                </a:moveTo>
                <a:cubicBezTo>
                  <a:pt x="13884" y="2052"/>
                  <a:pt x="13883" y="2051"/>
                  <a:pt x="13883" y="2051"/>
                </a:cubicBezTo>
                <a:cubicBezTo>
                  <a:pt x="8962" y="3256"/>
                  <a:pt x="5362" y="6353"/>
                  <a:pt x="4922" y="10046"/>
                </a:cubicBezTo>
                <a:cubicBezTo>
                  <a:pt x="2145" y="10046"/>
                  <a:pt x="2145" y="10046"/>
                  <a:pt x="2145" y="10046"/>
                </a:cubicBezTo>
                <a:cubicBezTo>
                  <a:pt x="2586" y="5466"/>
                  <a:pt x="7086" y="1615"/>
                  <a:pt x="13194" y="199"/>
                </a:cubicBezTo>
                <a:close/>
                <a:moveTo>
                  <a:pt x="18403" y="6068"/>
                </a:moveTo>
                <a:cubicBezTo>
                  <a:pt x="14631" y="6068"/>
                  <a:pt x="11547" y="8186"/>
                  <a:pt x="11547" y="10794"/>
                </a:cubicBezTo>
                <a:cubicBezTo>
                  <a:pt x="11547" y="13414"/>
                  <a:pt x="14631" y="15532"/>
                  <a:pt x="18403" y="15532"/>
                </a:cubicBezTo>
                <a:cubicBezTo>
                  <a:pt x="19552" y="15532"/>
                  <a:pt x="20643" y="15334"/>
                  <a:pt x="21600" y="14990"/>
                </a:cubicBezTo>
                <a:cubicBezTo>
                  <a:pt x="21600" y="13243"/>
                  <a:pt x="21600" y="13242"/>
                  <a:pt x="21600" y="13242"/>
                </a:cubicBezTo>
                <a:cubicBezTo>
                  <a:pt x="20757" y="13771"/>
                  <a:pt x="19628" y="14089"/>
                  <a:pt x="18403" y="14089"/>
                </a:cubicBezTo>
                <a:cubicBezTo>
                  <a:pt x="15780" y="14089"/>
                  <a:pt x="13634" y="12607"/>
                  <a:pt x="13634" y="10794"/>
                </a:cubicBezTo>
                <a:cubicBezTo>
                  <a:pt x="13634" y="8994"/>
                  <a:pt x="15780" y="7511"/>
                  <a:pt x="18403" y="7511"/>
                </a:cubicBezTo>
                <a:cubicBezTo>
                  <a:pt x="19628" y="7511"/>
                  <a:pt x="20757" y="7829"/>
                  <a:pt x="21600" y="8358"/>
                </a:cubicBezTo>
                <a:cubicBezTo>
                  <a:pt x="21600" y="6611"/>
                  <a:pt x="21600" y="6610"/>
                  <a:pt x="21600" y="6610"/>
                </a:cubicBezTo>
                <a:cubicBezTo>
                  <a:pt x="20643" y="6266"/>
                  <a:pt x="19552" y="6068"/>
                  <a:pt x="18403" y="6068"/>
                </a:cubicBezTo>
                <a:close/>
                <a:moveTo>
                  <a:pt x="2145" y="11541"/>
                </a:moveTo>
                <a:cubicBezTo>
                  <a:pt x="4922" y="11541"/>
                  <a:pt x="4922" y="11541"/>
                  <a:pt x="4922" y="11541"/>
                </a:cubicBezTo>
                <a:cubicBezTo>
                  <a:pt x="5343" y="15233"/>
                  <a:pt x="8943" y="18331"/>
                  <a:pt x="13846" y="19549"/>
                </a:cubicBezTo>
                <a:lnTo>
                  <a:pt x="13174" y="21401"/>
                </a:lnTo>
                <a:cubicBezTo>
                  <a:pt x="7066" y="19972"/>
                  <a:pt x="2586" y="16120"/>
                  <a:pt x="2145" y="11541"/>
                </a:cubicBezTo>
                <a:close/>
              </a:path>
            </a:pathLst>
          </a:custGeom>
          <a:solidFill>
            <a:srgbClr val="338592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152015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lang="ru-RU" sz="2800" b="1">
                <a:solidFill>
                  <a:srgbClr val="002554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ОБЗОР РЫНКА ДОЛГОВЫХ ЦЕННЫХ БУМАГ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6188D5-0358-8F5C-0CC8-6BBC86EE5255}"/>
              </a:ext>
            </a:extLst>
          </p:cNvPr>
          <p:cNvSpPr/>
          <p:nvPr/>
        </p:nvSpPr>
        <p:spPr>
          <a:xfrm>
            <a:off x="6295038" y="1906562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DC0974C-8A62-8D6F-D2FD-2C64C01FB999}"/>
              </a:ext>
            </a:extLst>
          </p:cNvPr>
          <p:cNvSpPr txBox="1"/>
          <p:nvPr/>
        </p:nvSpPr>
        <p:spPr>
          <a:xfrm>
            <a:off x="6521480" y="1751768"/>
            <a:ext cx="2044962" cy="3058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3BA402-D1E9-DC1B-9C0A-43499745901B}"/>
              </a:ext>
            </a:extLst>
          </p:cNvPr>
          <p:cNvSpPr txBox="1"/>
          <p:nvPr/>
        </p:nvSpPr>
        <p:spPr>
          <a:xfrm>
            <a:off x="6369081" y="5492494"/>
            <a:ext cx="4938158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200">
                <a:latin typeface="Montserrat"/>
                <a:cs typeface="Mongolian Baiti"/>
              </a:rPr>
              <a:t>Объем торгов долговыми бумагами - общий объем долговых ценных бумаг, которые покупаются и продаются на финансовых рынках в течение определенного периода</a:t>
            </a:r>
            <a:r>
              <a:rPr lang="en-US" sz="1200">
                <a:latin typeface="Montserrat"/>
                <a:cs typeface="Mongolian Baiti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97E62-4051-88FC-C94D-84493D08BE8E}"/>
              </a:ext>
            </a:extLst>
          </p:cNvPr>
          <p:cNvSpPr txBox="1"/>
          <p:nvPr/>
        </p:nvSpPr>
        <p:spPr>
          <a:xfrm>
            <a:off x="884760" y="894639"/>
            <a:ext cx="10432997" cy="83099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 dirty="0">
                <a:latin typeface="Montserrat"/>
                <a:cs typeface="Mongolian Baiti"/>
              </a:rPr>
              <a:t>В 3-м кв. 2025 г. выросло как количество листингов долговых обязательств, так и количество эмитентов на Бирже МФЦА: зафиксировано 28 новых листингов, , общее количество достигло 103. Объем торгов долговыми обязательствами на Бирже МФЦА за 3 кв. 2025 г. достиг </a:t>
            </a:r>
            <a:r>
              <a:rPr lang="en-US" sz="1200" dirty="0">
                <a:latin typeface="Montserrat"/>
                <a:cs typeface="Mongolian Baiti"/>
              </a:rPr>
              <a:t>$</a:t>
            </a:r>
            <a:r>
              <a:rPr lang="ru-RU" sz="1200" dirty="0">
                <a:latin typeface="Montserrat"/>
                <a:cs typeface="Mongolian Baiti"/>
              </a:rPr>
              <a:t>345,6 млн, увеличившись с начала года на $980,4 млн. С момента создания совокупный объем торгов долговыми обязательствами достиг $2,6 млрд.</a:t>
            </a:r>
            <a:endParaRPr lang="en-US" sz="1200" dirty="0">
              <a:highlight>
                <a:srgbClr val="FFFF00"/>
              </a:highlight>
              <a:latin typeface="Montserrat"/>
              <a:cs typeface="Mongolian Bait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EF8A265-7911-B274-2E61-42A4C8C332CC}"/>
              </a:ext>
            </a:extLst>
          </p:cNvPr>
          <p:cNvSpPr txBox="1"/>
          <p:nvPr/>
        </p:nvSpPr>
        <p:spPr>
          <a:xfrm>
            <a:off x="6528391" y="2225542"/>
            <a:ext cx="1764681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2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pPr lvl="0" defTabSz="452628">
              <a:defRPr/>
            </a:pP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45,6 млн</a:t>
            </a:r>
            <a:br>
              <a:rPr lang="en-US" sz="1400" b="1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</a:t>
            </a:r>
            <a:b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3-м кв.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5 г.</a:t>
            </a:r>
            <a:endParaRPr lang="en-US" sz="14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EB8B81-C04E-5CE2-991B-CB535D56FB5D}"/>
              </a:ext>
            </a:extLst>
          </p:cNvPr>
          <p:cNvSpPr txBox="1"/>
          <p:nvPr/>
        </p:nvSpPr>
        <p:spPr>
          <a:xfrm>
            <a:off x="1115791" y="2395657"/>
            <a:ext cx="1339191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47</a:t>
            </a:r>
            <a:b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Общее количество листингов долговых ценных бумаг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19E2B3-3944-82B4-F61B-53FD4E6C72CA}"/>
              </a:ext>
            </a:extLst>
          </p:cNvPr>
          <p:cNvSpPr txBox="1"/>
          <p:nvPr/>
        </p:nvSpPr>
        <p:spPr>
          <a:xfrm>
            <a:off x="927042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Большое количество доступных долговых ценных бумаг предоставляет инвесторам более широкий выбор инвестиций.</a:t>
            </a:r>
            <a:endParaRPr lang="en-US" sz="1100">
              <a:highlight>
                <a:srgbClr val="FFFF00"/>
              </a:highlight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719B2AA-9C85-1810-D9D5-F90133248D43}"/>
              </a:ext>
            </a:extLst>
          </p:cNvPr>
          <p:cNvSpPr/>
          <p:nvPr/>
        </p:nvSpPr>
        <p:spPr>
          <a:xfrm>
            <a:off x="884761" y="1896288"/>
            <a:ext cx="5250608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843A309-C9E9-5BD9-2486-FF8ECDA43E49}"/>
              </a:ext>
            </a:extLst>
          </p:cNvPr>
          <p:cNvSpPr txBox="1"/>
          <p:nvPr/>
        </p:nvSpPr>
        <p:spPr>
          <a:xfrm>
            <a:off x="1115791" y="1749808"/>
            <a:ext cx="282483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ЛИСТИНГИ И</a:t>
            </a:r>
            <a: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ЭМИТЕНТЫ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B1E4AA-5F41-B421-DFB8-2E354C845695}"/>
              </a:ext>
            </a:extLst>
          </p:cNvPr>
          <p:cNvSpPr txBox="1"/>
          <p:nvPr/>
        </p:nvSpPr>
        <p:spPr>
          <a:xfrm>
            <a:off x="1115791" y="3804021"/>
            <a:ext cx="1095781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+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8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листингов в 3-м кв. 2025 г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grpSp>
        <p:nvGrpSpPr>
          <p:cNvPr id="28" name="Group 12">
            <a:extLst>
              <a:ext uri="{FF2B5EF4-FFF2-40B4-BE49-F238E27FC236}">
                <a16:creationId xmlns:a16="http://schemas.microsoft.com/office/drawing/2014/main" id="{DB27CBB1-399D-69B3-7E8F-96D5170A3926}"/>
              </a:ext>
            </a:extLst>
          </p:cNvPr>
          <p:cNvGrpSpPr/>
          <p:nvPr/>
        </p:nvGrpSpPr>
        <p:grpSpPr>
          <a:xfrm>
            <a:off x="2136384" y="4941904"/>
            <a:ext cx="1265086" cy="276999"/>
            <a:chOff x="6470624" y="5013777"/>
            <a:chExt cx="1265086" cy="27699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B5AB1BD-45BB-A028-96B6-B16AEC0D201E}"/>
                </a:ext>
              </a:extLst>
            </p:cNvPr>
            <p:cNvSpPr txBox="1"/>
            <p:nvPr/>
          </p:nvSpPr>
          <p:spPr>
            <a:xfrm>
              <a:off x="6726936" y="5013777"/>
              <a:ext cx="10087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Листинги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57E9FB4D-AFA4-31DA-D82D-852E5E7FBA18}"/>
                </a:ext>
              </a:extLst>
            </p:cNvPr>
            <p:cNvSpPr/>
            <p:nvPr/>
          </p:nvSpPr>
          <p:spPr>
            <a:xfrm>
              <a:off x="6470624" y="5106370"/>
              <a:ext cx="305177" cy="94784"/>
            </a:xfrm>
            <a:prstGeom prst="rect">
              <a:avLst/>
            </a:prstGeom>
            <a:solidFill>
              <a:srgbClr val="008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oup 15">
            <a:extLst>
              <a:ext uri="{FF2B5EF4-FFF2-40B4-BE49-F238E27FC236}">
                <a16:creationId xmlns:a16="http://schemas.microsoft.com/office/drawing/2014/main" id="{D2A6312A-E733-3BE6-45A0-CF1D17FAFA9D}"/>
              </a:ext>
            </a:extLst>
          </p:cNvPr>
          <p:cNvGrpSpPr/>
          <p:nvPr/>
        </p:nvGrpSpPr>
        <p:grpSpPr>
          <a:xfrm>
            <a:off x="3337094" y="4941904"/>
            <a:ext cx="1276264" cy="276999"/>
            <a:chOff x="7697681" y="5013777"/>
            <a:chExt cx="1276264" cy="276999"/>
          </a:xfrm>
        </p:grpSpPr>
        <p:sp>
          <p:nvSpPr>
            <p:cNvPr id="36" name="Rectangle 16">
              <a:extLst>
                <a:ext uri="{FF2B5EF4-FFF2-40B4-BE49-F238E27FC236}">
                  <a16:creationId xmlns:a16="http://schemas.microsoft.com/office/drawing/2014/main" id="{25FBC374-2D04-403F-24E8-D55103E8E349}"/>
                </a:ext>
              </a:extLst>
            </p:cNvPr>
            <p:cNvSpPr/>
            <p:nvPr/>
          </p:nvSpPr>
          <p:spPr>
            <a:xfrm>
              <a:off x="7697681" y="5104885"/>
              <a:ext cx="305177" cy="94784"/>
            </a:xfrm>
            <a:prstGeom prst="rect">
              <a:avLst/>
            </a:prstGeom>
            <a:solidFill>
              <a:srgbClr val="0024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C51973B-A3A8-2EF9-7B7B-7F499EE2C994}"/>
                </a:ext>
              </a:extLst>
            </p:cNvPr>
            <p:cNvSpPr txBox="1"/>
            <p:nvPr/>
          </p:nvSpPr>
          <p:spPr>
            <a:xfrm>
              <a:off x="7972037" y="5013777"/>
              <a:ext cx="100190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Эмитенты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270B7733-DAEE-97AE-6A87-95B26FDEC2E4}"/>
              </a:ext>
            </a:extLst>
          </p:cNvPr>
          <p:cNvSpPr txBox="1"/>
          <p:nvPr/>
        </p:nvSpPr>
        <p:spPr>
          <a:xfrm>
            <a:off x="4915761" y="4849570"/>
            <a:ext cx="11948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Новые листинги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cxnSp>
        <p:nvCxnSpPr>
          <p:cNvPr id="39" name="Straight Connector 21">
            <a:extLst>
              <a:ext uri="{FF2B5EF4-FFF2-40B4-BE49-F238E27FC236}">
                <a16:creationId xmlns:a16="http://schemas.microsoft.com/office/drawing/2014/main" id="{4391629F-A0A5-4951-FC32-497C3CFB6F74}"/>
              </a:ext>
            </a:extLst>
          </p:cNvPr>
          <p:cNvCxnSpPr>
            <a:cxnSpLocks/>
          </p:cNvCxnSpPr>
          <p:nvPr/>
        </p:nvCxnSpPr>
        <p:spPr>
          <a:xfrm>
            <a:off x="4637387" y="5060055"/>
            <a:ext cx="269082" cy="0"/>
          </a:xfrm>
          <a:prstGeom prst="line">
            <a:avLst/>
          </a:prstGeom>
          <a:ln w="19050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26">
            <a:extLst>
              <a:ext uri="{FF2B5EF4-FFF2-40B4-BE49-F238E27FC236}">
                <a16:creationId xmlns:a16="http://schemas.microsoft.com/office/drawing/2014/main" id="{1D8F972B-BA86-E0E5-4921-D94C14258673}"/>
              </a:ext>
            </a:extLst>
          </p:cNvPr>
          <p:cNvSpPr/>
          <p:nvPr/>
        </p:nvSpPr>
        <p:spPr>
          <a:xfrm>
            <a:off x="4733112" y="5023135"/>
            <a:ext cx="85726" cy="82640"/>
          </a:xfrm>
          <a:prstGeom prst="ellipse">
            <a:avLst/>
          </a:prstGeom>
          <a:solidFill>
            <a:srgbClr val="B4C7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hart 11">
            <a:extLst>
              <a:ext uri="{FF2B5EF4-FFF2-40B4-BE49-F238E27FC236}">
                <a16:creationId xmlns:a16="http://schemas.microsoft.com/office/drawing/2014/main" id="{383A9DA2-329F-2063-D839-F9D13F184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7575695"/>
              </p:ext>
            </p:extLst>
          </p:nvPr>
        </p:nvGraphicFramePr>
        <p:xfrm>
          <a:off x="1944572" y="2598295"/>
          <a:ext cx="4350465" cy="2140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Chart 40">
            <a:extLst>
              <a:ext uri="{FF2B5EF4-FFF2-40B4-BE49-F238E27FC236}">
                <a16:creationId xmlns:a16="http://schemas.microsoft.com/office/drawing/2014/main" id="{BA702ED6-5EC1-1D8B-8587-A5C8A893CC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6843756"/>
              </p:ext>
            </p:extLst>
          </p:nvPr>
        </p:nvGraphicFramePr>
        <p:xfrm>
          <a:off x="7108719" y="2204065"/>
          <a:ext cx="4194302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Box 41">
            <a:extLst>
              <a:ext uri="{FF2B5EF4-FFF2-40B4-BE49-F238E27FC236}">
                <a16:creationId xmlns:a16="http://schemas.microsoft.com/office/drawing/2014/main" id="{AB13A9E9-FC2B-9CD2-7179-83928832E427}"/>
              </a:ext>
            </a:extLst>
          </p:cNvPr>
          <p:cNvSpPr txBox="1"/>
          <p:nvPr/>
        </p:nvSpPr>
        <p:spPr>
          <a:xfrm>
            <a:off x="7176642" y="4666130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-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9" name="TextBox 42">
            <a:extLst>
              <a:ext uri="{FF2B5EF4-FFF2-40B4-BE49-F238E27FC236}">
                <a16:creationId xmlns:a16="http://schemas.microsoft.com/office/drawing/2014/main" id="{EC9345E5-2339-88F3-8807-302CF9F3C618}"/>
              </a:ext>
            </a:extLst>
          </p:cNvPr>
          <p:cNvSpPr txBox="1"/>
          <p:nvPr/>
        </p:nvSpPr>
        <p:spPr>
          <a:xfrm>
            <a:off x="7634107" y="4565768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2" name="TextBox 43">
            <a:extLst>
              <a:ext uri="{FF2B5EF4-FFF2-40B4-BE49-F238E27FC236}">
                <a16:creationId xmlns:a16="http://schemas.microsoft.com/office/drawing/2014/main" id="{170BBD13-3D6B-352A-2AFC-35E7151C325D}"/>
              </a:ext>
            </a:extLst>
          </p:cNvPr>
          <p:cNvSpPr txBox="1"/>
          <p:nvPr/>
        </p:nvSpPr>
        <p:spPr>
          <a:xfrm>
            <a:off x="8112141" y="4426582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25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7" name="TextBox 44">
            <a:extLst>
              <a:ext uri="{FF2B5EF4-FFF2-40B4-BE49-F238E27FC236}">
                <a16:creationId xmlns:a16="http://schemas.microsoft.com/office/drawing/2014/main" id="{10547048-E2B7-0D69-380E-4BD90B8B7AD1}"/>
              </a:ext>
            </a:extLst>
          </p:cNvPr>
          <p:cNvSpPr txBox="1"/>
          <p:nvPr/>
        </p:nvSpPr>
        <p:spPr>
          <a:xfrm>
            <a:off x="8610902" y="4037255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217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9" name="TextBox 45">
            <a:extLst>
              <a:ext uri="{FF2B5EF4-FFF2-40B4-BE49-F238E27FC236}">
                <a16:creationId xmlns:a16="http://schemas.microsoft.com/office/drawing/2014/main" id="{5D004C76-0DB5-D2E1-FFDC-194D8B3691E3}"/>
              </a:ext>
            </a:extLst>
          </p:cNvPr>
          <p:cNvSpPr txBox="1"/>
          <p:nvPr/>
        </p:nvSpPr>
        <p:spPr>
          <a:xfrm>
            <a:off x="9111562" y="4245457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06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1" name="TextBox 46">
            <a:extLst>
              <a:ext uri="{FF2B5EF4-FFF2-40B4-BE49-F238E27FC236}">
                <a16:creationId xmlns:a16="http://schemas.microsoft.com/office/drawing/2014/main" id="{6EE0D5E7-49F2-4519-190F-E309235578C7}"/>
              </a:ext>
            </a:extLst>
          </p:cNvPr>
          <p:cNvSpPr txBox="1"/>
          <p:nvPr/>
        </p:nvSpPr>
        <p:spPr>
          <a:xfrm>
            <a:off x="9534523" y="3558326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452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A79DC61F-730C-7930-2BCC-F467DB4FBAA1}"/>
              </a:ext>
            </a:extLst>
          </p:cNvPr>
          <p:cNvSpPr txBox="1"/>
          <p:nvPr/>
        </p:nvSpPr>
        <p:spPr>
          <a:xfrm>
            <a:off x="10531269" y="2465381"/>
            <a:ext cx="771752" cy="25391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lang="ru-RU" sz="1050">
                <a:latin typeface="Montserrat" panose="00000500000000000000" pitchFamily="2" charset="-52"/>
              </a:rPr>
              <a:t>980,4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3" name="TextBox 11">
            <a:extLst>
              <a:ext uri="{FF2B5EF4-FFF2-40B4-BE49-F238E27FC236}">
                <a16:creationId xmlns:a16="http://schemas.microsoft.com/office/drawing/2014/main" id="{B432C63F-3255-3044-953D-1C8A4FFA930C}"/>
              </a:ext>
            </a:extLst>
          </p:cNvPr>
          <p:cNvSpPr txBox="1"/>
          <p:nvPr/>
        </p:nvSpPr>
        <p:spPr>
          <a:xfrm>
            <a:off x="9983590" y="2815793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lang="en-US" sz="1050">
                <a:latin typeface="Montserrat" panose="00000500000000000000" pitchFamily="2" charset="-52"/>
              </a:rPr>
              <a:t>819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9BBE670-3254-E54E-BA91-C0E513E73E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8063232"/>
              </p:ext>
            </p:extLst>
          </p:nvPr>
        </p:nvGraphicFramePr>
        <p:xfrm>
          <a:off x="1931286" y="2068274"/>
          <a:ext cx="3940895" cy="65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2786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lang="ru-RU" sz="2800" b="1">
                <a:solidFill>
                  <a:srgbClr val="002554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ПРИВЛЕЧЕННЫЙ ДОЛГОВОЙ КАПИТАЛ</a:t>
            </a:r>
            <a:endParaRPr kumimoji="0" lang="ru-RU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3BA402-D1E9-DC1B-9C0A-43499745901B}"/>
              </a:ext>
            </a:extLst>
          </p:cNvPr>
          <p:cNvSpPr txBox="1"/>
          <p:nvPr/>
        </p:nvSpPr>
        <p:spPr>
          <a:xfrm>
            <a:off x="6337319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Разбивка по отраслям показывает, какую долю занимают определенные отрасли от общего объема привлеченного долгового капитала</a:t>
            </a:r>
            <a: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97E62-4051-88FC-C94D-84493D08BE8E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 dirty="0">
                <a:latin typeface="Montserrat"/>
                <a:cs typeface="Mongolian Baiti"/>
              </a:rPr>
              <a:t>Объем привлеченного долгового капитала на Бирже МФЦА увеличился на $3,2 млрд, составив $9,7 млрд. Распределение инвестиций по отраслям не претерпело существенных изменений, по-прежнему лидируют следующие направления: инвестиционная деятельность, нефть и газ и государственные ценные бумаги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60F543-32C0-B72C-E262-7F93A00830E2}"/>
              </a:ext>
            </a:extLst>
          </p:cNvPr>
          <p:cNvSpPr txBox="1"/>
          <p:nvPr/>
        </p:nvSpPr>
        <p:spPr>
          <a:xfrm>
            <a:off x="927042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Долговой капитал - это средства, которые компании привлекают путем выпуска различных видов облигаций для инвесторов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0CDE3B-02CB-A8F6-B512-0699B4805E64}"/>
              </a:ext>
            </a:extLst>
          </p:cNvPr>
          <p:cNvSpPr txBox="1"/>
          <p:nvPr/>
        </p:nvSpPr>
        <p:spPr>
          <a:xfrm>
            <a:off x="1879286" y="4654938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-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4" name="TextBox 5">
            <a:extLst>
              <a:ext uri="{FF2B5EF4-FFF2-40B4-BE49-F238E27FC236}">
                <a16:creationId xmlns:a16="http://schemas.microsoft.com/office/drawing/2014/main" id="{90BE8CD8-94C1-7202-0DBE-3853E3A66AD5}"/>
              </a:ext>
            </a:extLst>
          </p:cNvPr>
          <p:cNvSpPr txBox="1"/>
          <p:nvPr/>
        </p:nvSpPr>
        <p:spPr>
          <a:xfrm>
            <a:off x="1073508" y="2156650"/>
            <a:ext cx="1703887" cy="8925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rgbClr val="008EAA"/>
                </a:solidFill>
                <a:latin typeface="Montserrat"/>
                <a:cs typeface="Mongolian Baiti"/>
              </a:rPr>
              <a:t>$</a:t>
            </a:r>
            <a:r>
              <a:rPr lang="ru-RU" sz="1600" b="1">
                <a:solidFill>
                  <a:srgbClr val="008EAA"/>
                </a:solidFill>
                <a:latin typeface="Montserrat"/>
                <a:cs typeface="Mongolian Baiti"/>
              </a:rPr>
              <a:t>9,7</a:t>
            </a:r>
            <a:r>
              <a:rPr lang="en-US" sz="1600" b="1">
                <a:solidFill>
                  <a:srgbClr val="008EAA"/>
                </a:solidFill>
                <a:latin typeface="Montserrat"/>
                <a:cs typeface="Mongolian Baiti"/>
              </a:rPr>
              <a:t> </a:t>
            </a:r>
            <a:r>
              <a:rPr lang="ru-RU" sz="1600" b="1">
                <a:solidFill>
                  <a:srgbClr val="008EAA"/>
                </a:solidFill>
                <a:latin typeface="Montserrat"/>
                <a:cs typeface="Mongolian Baiti"/>
              </a:rPr>
              <a:t>млрд</a:t>
            </a:r>
            <a:b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/>
                <a:cs typeface="Mongolian Baiti"/>
              </a:rPr>
              <a:t>Привлеченный капитал за счет общего долга</a:t>
            </a:r>
            <a:endParaRPr lang="ru-RU" sz="1200" b="1">
              <a:solidFill>
                <a:srgbClr val="008EAA"/>
              </a:solidFill>
              <a:latin typeface="Montserrat"/>
              <a:cs typeface="Mongolian Baiti"/>
            </a:endParaRPr>
          </a:p>
        </p:txBody>
      </p:sp>
      <p:sp>
        <p:nvSpPr>
          <p:cNvPr id="45" name="TextBox 8">
            <a:extLst>
              <a:ext uri="{FF2B5EF4-FFF2-40B4-BE49-F238E27FC236}">
                <a16:creationId xmlns:a16="http://schemas.microsoft.com/office/drawing/2014/main" id="{FB0CAE96-5F9C-ACCC-9EFD-BFC6551FC96D}"/>
              </a:ext>
            </a:extLst>
          </p:cNvPr>
          <p:cNvSpPr txBox="1"/>
          <p:nvPr/>
        </p:nvSpPr>
        <p:spPr>
          <a:xfrm>
            <a:off x="1073509" y="3061788"/>
            <a:ext cx="178484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 млрд</a:t>
            </a:r>
            <a:br>
              <a:rPr lang="en-US" sz="14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Привлечённый долговой капитал в 3-м кв.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5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од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46" name="Rectangle 9">
            <a:extLst>
              <a:ext uri="{FF2B5EF4-FFF2-40B4-BE49-F238E27FC236}">
                <a16:creationId xmlns:a16="http://schemas.microsoft.com/office/drawing/2014/main" id="{32411D01-3C44-AB29-7038-3BCDCF464DAB}"/>
              </a:ext>
            </a:extLst>
          </p:cNvPr>
          <p:cNvSpPr/>
          <p:nvPr/>
        </p:nvSpPr>
        <p:spPr>
          <a:xfrm>
            <a:off x="842480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aphicFrame>
        <p:nvGraphicFramePr>
          <p:cNvPr id="47" name="Chart 12">
            <a:extLst>
              <a:ext uri="{FF2B5EF4-FFF2-40B4-BE49-F238E27FC236}">
                <a16:creationId xmlns:a16="http://schemas.microsoft.com/office/drawing/2014/main" id="{8FF51F1D-E066-05BB-12E1-35E8B51286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3897959"/>
              </p:ext>
            </p:extLst>
          </p:nvPr>
        </p:nvGraphicFramePr>
        <p:xfrm>
          <a:off x="1761451" y="2343451"/>
          <a:ext cx="4221893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TextBox 13">
            <a:extLst>
              <a:ext uri="{FF2B5EF4-FFF2-40B4-BE49-F238E27FC236}">
                <a16:creationId xmlns:a16="http://schemas.microsoft.com/office/drawing/2014/main" id="{B20CDE3B-02CB-A8F6-B512-0699B4805E64}"/>
              </a:ext>
            </a:extLst>
          </p:cNvPr>
          <p:cNvSpPr txBox="1"/>
          <p:nvPr/>
        </p:nvSpPr>
        <p:spPr>
          <a:xfrm>
            <a:off x="1855293" y="4654938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-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9" name="TextBox 14">
            <a:extLst>
              <a:ext uri="{FF2B5EF4-FFF2-40B4-BE49-F238E27FC236}">
                <a16:creationId xmlns:a16="http://schemas.microsoft.com/office/drawing/2014/main" id="{1B196EA7-439E-0271-9871-8455A5EEC67A}"/>
              </a:ext>
            </a:extLst>
          </p:cNvPr>
          <p:cNvSpPr txBox="1"/>
          <p:nvPr/>
        </p:nvSpPr>
        <p:spPr>
          <a:xfrm>
            <a:off x="2309578" y="4067305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$813</a:t>
            </a:r>
            <a:r>
              <a:rPr lang="ru-RU" sz="1100">
                <a:latin typeface="Montserrat" panose="00000500000000000000" pitchFamily="2" charset="-52"/>
              </a:rPr>
              <a:t> млн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0" name="TextBox 15">
            <a:extLst>
              <a:ext uri="{FF2B5EF4-FFF2-40B4-BE49-F238E27FC236}">
                <a16:creationId xmlns:a16="http://schemas.microsoft.com/office/drawing/2014/main" id="{6A9A99B5-2D07-5E57-5D08-7AE2404145B6}"/>
              </a:ext>
            </a:extLst>
          </p:cNvPr>
          <p:cNvSpPr txBox="1"/>
          <p:nvPr/>
        </p:nvSpPr>
        <p:spPr>
          <a:xfrm>
            <a:off x="2798257" y="4553428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$148</a:t>
            </a:r>
            <a:r>
              <a:rPr lang="ru-RU" sz="1100">
                <a:latin typeface="Montserrat" panose="00000500000000000000" pitchFamily="2" charset="-52"/>
              </a:rPr>
              <a:t> млн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1" name="TextBox 16">
            <a:extLst>
              <a:ext uri="{FF2B5EF4-FFF2-40B4-BE49-F238E27FC236}">
                <a16:creationId xmlns:a16="http://schemas.microsoft.com/office/drawing/2014/main" id="{C6D80B88-1D1A-5302-B59F-5F0F6C30A810}"/>
              </a:ext>
            </a:extLst>
          </p:cNvPr>
          <p:cNvSpPr txBox="1"/>
          <p:nvPr/>
        </p:nvSpPr>
        <p:spPr>
          <a:xfrm>
            <a:off x="3275823" y="4136756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$708</a:t>
            </a:r>
            <a:r>
              <a:rPr lang="ru-RU" sz="1100">
                <a:latin typeface="Montserrat" panose="00000500000000000000" pitchFamily="2" charset="-52"/>
              </a:rPr>
              <a:t> млн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2" name="TextBox 17">
            <a:extLst>
              <a:ext uri="{FF2B5EF4-FFF2-40B4-BE49-F238E27FC236}">
                <a16:creationId xmlns:a16="http://schemas.microsoft.com/office/drawing/2014/main" id="{2E58206E-6AF1-9A7B-B393-446E8D73898B}"/>
              </a:ext>
            </a:extLst>
          </p:cNvPr>
          <p:cNvSpPr txBox="1"/>
          <p:nvPr/>
        </p:nvSpPr>
        <p:spPr>
          <a:xfrm>
            <a:off x="3778030" y="4296667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557</a:t>
            </a:r>
            <a:r>
              <a:rPr kumimoji="0" lang="ru-RU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3" name="TextBox 18">
            <a:extLst>
              <a:ext uri="{FF2B5EF4-FFF2-40B4-BE49-F238E27FC236}">
                <a16:creationId xmlns:a16="http://schemas.microsoft.com/office/drawing/2014/main" id="{57D98D88-CFF5-0777-DAC4-4007F9EA6891}"/>
              </a:ext>
            </a:extLst>
          </p:cNvPr>
          <p:cNvSpPr txBox="1"/>
          <p:nvPr/>
        </p:nvSpPr>
        <p:spPr>
          <a:xfrm>
            <a:off x="4778881" y="2833758"/>
            <a:ext cx="602486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$2</a:t>
            </a:r>
            <a:r>
              <a:rPr lang="ru-RU" sz="1100">
                <a:latin typeface="Montserrat" panose="00000500000000000000" pitchFamily="2" charset="-52"/>
              </a:rPr>
              <a:t>,3 млрд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54" name="TextBox 2">
            <a:extLst>
              <a:ext uri="{FF2B5EF4-FFF2-40B4-BE49-F238E27FC236}">
                <a16:creationId xmlns:a16="http://schemas.microsoft.com/office/drawing/2014/main" id="{8C3A6160-9C69-6208-E6C0-CB81E01F8512}"/>
              </a:ext>
            </a:extLst>
          </p:cNvPr>
          <p:cNvSpPr txBox="1"/>
          <p:nvPr/>
        </p:nvSpPr>
        <p:spPr>
          <a:xfrm>
            <a:off x="5269123" y="2295587"/>
            <a:ext cx="636863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 dirty="0">
                <a:latin typeface="Montserrat" panose="00000500000000000000" pitchFamily="2" charset="-52"/>
              </a:rPr>
              <a:t>$</a:t>
            </a:r>
            <a:r>
              <a:rPr lang="ru-RU" sz="1100" dirty="0">
                <a:latin typeface="Montserrat" panose="00000500000000000000" pitchFamily="2" charset="-52"/>
              </a:rPr>
              <a:t>3,2 млрд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55" name="TextBox 1">
            <a:extLst>
              <a:ext uri="{FF2B5EF4-FFF2-40B4-BE49-F238E27FC236}">
                <a16:creationId xmlns:a16="http://schemas.microsoft.com/office/drawing/2014/main" id="{4B457C6C-18E1-5178-D68C-C3FDB9D77B88}"/>
              </a:ext>
            </a:extLst>
          </p:cNvPr>
          <p:cNvSpPr txBox="1"/>
          <p:nvPr/>
        </p:nvSpPr>
        <p:spPr>
          <a:xfrm>
            <a:off x="4323365" y="3042356"/>
            <a:ext cx="540677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$2</a:t>
            </a:r>
            <a:r>
              <a:rPr lang="ru-RU" sz="1100">
                <a:latin typeface="Montserrat" panose="00000500000000000000" pitchFamily="2" charset="-52"/>
              </a:rPr>
              <a:t> млрд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556E7A-EC88-D8F3-3AAA-0CE02B869EF7}"/>
              </a:ext>
            </a:extLst>
          </p:cNvPr>
          <p:cNvSpPr txBox="1"/>
          <p:nvPr/>
        </p:nvSpPr>
        <p:spPr>
          <a:xfrm>
            <a:off x="1115791" y="1749807"/>
            <a:ext cx="238757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ДОЛГОВОЙ КАПИТАЛ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56" name="Chart 22">
            <a:extLst>
              <a:ext uri="{FF2B5EF4-FFF2-40B4-BE49-F238E27FC236}">
                <a16:creationId xmlns:a16="http://schemas.microsoft.com/office/drawing/2014/main" id="{8C496C71-269A-1E01-0024-A3A97E2D26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4911137"/>
              </p:ext>
            </p:extLst>
          </p:nvPr>
        </p:nvGraphicFramePr>
        <p:xfrm>
          <a:off x="5759540" y="2289160"/>
          <a:ext cx="4064128" cy="270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57" name="Group 23">
            <a:extLst>
              <a:ext uri="{FF2B5EF4-FFF2-40B4-BE49-F238E27FC236}">
                <a16:creationId xmlns:a16="http://schemas.microsoft.com/office/drawing/2014/main" id="{868E61B7-F7E9-6643-6763-7D2778D936C4}"/>
              </a:ext>
            </a:extLst>
          </p:cNvPr>
          <p:cNvGrpSpPr/>
          <p:nvPr/>
        </p:nvGrpSpPr>
        <p:grpSpPr>
          <a:xfrm>
            <a:off x="9347200" y="2811109"/>
            <a:ext cx="2154906" cy="1954381"/>
            <a:chOff x="8895788" y="2599527"/>
            <a:chExt cx="2154906" cy="1954381"/>
          </a:xfrm>
        </p:grpSpPr>
        <p:sp>
          <p:nvSpPr>
            <p:cNvPr id="60" name="TextBox 24">
              <a:extLst>
                <a:ext uri="{FF2B5EF4-FFF2-40B4-BE49-F238E27FC236}">
                  <a16:creationId xmlns:a16="http://schemas.microsoft.com/office/drawing/2014/main" id="{010D80E2-7611-351F-D297-F138064870C6}"/>
                </a:ext>
              </a:extLst>
            </p:cNvPr>
            <p:cNvSpPr txBox="1"/>
            <p:nvPr/>
          </p:nvSpPr>
          <p:spPr>
            <a:xfrm>
              <a:off x="9382131" y="2599527"/>
              <a:ext cx="1668563" cy="19543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ru-RU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Инвестиционная деятельность</a:t>
              </a:r>
              <a:r>
                <a:rPr lang="en-US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 </a:t>
              </a:r>
            </a:p>
            <a:p>
              <a:pPr>
                <a:spcAft>
                  <a:spcPts val="600"/>
                </a:spcAft>
              </a:pPr>
              <a:r>
                <a:rPr lang="ru-RU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Гос. управление</a:t>
              </a:r>
              <a:r>
                <a:rPr lang="en-US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 </a:t>
              </a:r>
            </a:p>
            <a:p>
              <a:pPr>
                <a:spcAft>
                  <a:spcPts val="600"/>
                </a:spcAft>
              </a:pPr>
              <a:r>
                <a:rPr lang="ru-RU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Нефть и газ</a:t>
              </a:r>
              <a:endParaRPr lang="en-US" sz="12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Банковское деятельность </a:t>
              </a:r>
            </a:p>
            <a:p>
              <a:pPr>
                <a:spcAft>
                  <a:spcPts val="600"/>
                </a:spcAft>
              </a:pPr>
              <a:r>
                <a:rPr lang="ru-RU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Логистика</a:t>
              </a:r>
            </a:p>
            <a:p>
              <a:pPr>
                <a:spcAft>
                  <a:spcPts val="600"/>
                </a:spcAft>
              </a:pPr>
              <a:r>
                <a:rPr lang="ru-RU" sz="12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Прочее</a:t>
              </a:r>
              <a:endParaRPr lang="en-US" sz="12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1" name="Rectangle 25">
              <a:extLst>
                <a:ext uri="{FF2B5EF4-FFF2-40B4-BE49-F238E27FC236}">
                  <a16:creationId xmlns:a16="http://schemas.microsoft.com/office/drawing/2014/main" id="{9A234692-4035-F08B-AC4B-54302F78CCF3}"/>
                </a:ext>
              </a:extLst>
            </p:cNvPr>
            <p:cNvSpPr/>
            <p:nvPr/>
          </p:nvSpPr>
          <p:spPr>
            <a:xfrm>
              <a:off x="8907067" y="2682168"/>
              <a:ext cx="476794" cy="114688"/>
            </a:xfrm>
            <a:prstGeom prst="rect">
              <a:avLst/>
            </a:prstGeom>
            <a:solidFill>
              <a:srgbClr val="0024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2" name="Rectangle 26">
              <a:extLst>
                <a:ext uri="{FF2B5EF4-FFF2-40B4-BE49-F238E27FC236}">
                  <a16:creationId xmlns:a16="http://schemas.microsoft.com/office/drawing/2014/main" id="{4BF5D544-5F92-E74D-2555-7A4F0AB2A203}"/>
                </a:ext>
              </a:extLst>
            </p:cNvPr>
            <p:cNvSpPr/>
            <p:nvPr/>
          </p:nvSpPr>
          <p:spPr>
            <a:xfrm>
              <a:off x="8895788" y="3120242"/>
              <a:ext cx="476794" cy="114688"/>
            </a:xfrm>
            <a:prstGeom prst="rect">
              <a:avLst/>
            </a:prstGeom>
            <a:solidFill>
              <a:srgbClr val="0058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3" name="Rectangle 27">
              <a:extLst>
                <a:ext uri="{FF2B5EF4-FFF2-40B4-BE49-F238E27FC236}">
                  <a16:creationId xmlns:a16="http://schemas.microsoft.com/office/drawing/2014/main" id="{C9A9C63B-2281-DA81-CCA0-FF0E68AB1F3D}"/>
                </a:ext>
              </a:extLst>
            </p:cNvPr>
            <p:cNvSpPr/>
            <p:nvPr/>
          </p:nvSpPr>
          <p:spPr>
            <a:xfrm>
              <a:off x="8895788" y="3387958"/>
              <a:ext cx="476794" cy="114688"/>
            </a:xfrm>
            <a:prstGeom prst="rect">
              <a:avLst/>
            </a:prstGeom>
            <a:solidFill>
              <a:srgbClr val="549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4" name="Rectangle 28">
              <a:extLst>
                <a:ext uri="{FF2B5EF4-FFF2-40B4-BE49-F238E27FC236}">
                  <a16:creationId xmlns:a16="http://schemas.microsoft.com/office/drawing/2014/main" id="{5036A5E3-39FC-0F03-82BA-6946A9F8C22F}"/>
                </a:ext>
              </a:extLst>
            </p:cNvPr>
            <p:cNvSpPr/>
            <p:nvPr/>
          </p:nvSpPr>
          <p:spPr>
            <a:xfrm>
              <a:off x="8907067" y="3631411"/>
              <a:ext cx="476794" cy="126157"/>
            </a:xfrm>
            <a:prstGeom prst="rect">
              <a:avLst/>
            </a:prstGeom>
            <a:solidFill>
              <a:srgbClr val="26A6B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5" name="Rectangle 31">
              <a:extLst>
                <a:ext uri="{FF2B5EF4-FFF2-40B4-BE49-F238E27FC236}">
                  <a16:creationId xmlns:a16="http://schemas.microsoft.com/office/drawing/2014/main" id="{A71560D0-E154-141B-8B7C-20A792D932CE}"/>
                </a:ext>
              </a:extLst>
            </p:cNvPr>
            <p:cNvSpPr/>
            <p:nvPr/>
          </p:nvSpPr>
          <p:spPr>
            <a:xfrm>
              <a:off x="8907067" y="4051357"/>
              <a:ext cx="476794" cy="126157"/>
            </a:xfrm>
            <a:prstGeom prst="rect">
              <a:avLst/>
            </a:prstGeom>
            <a:solidFill>
              <a:srgbClr val="82C6D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6" name="Rectangle 35">
              <a:extLst>
                <a:ext uri="{FF2B5EF4-FFF2-40B4-BE49-F238E27FC236}">
                  <a16:creationId xmlns:a16="http://schemas.microsoft.com/office/drawing/2014/main" id="{49A3E01F-F998-CC7B-13D8-D91CD0B70DFA}"/>
                </a:ext>
              </a:extLst>
            </p:cNvPr>
            <p:cNvSpPr/>
            <p:nvPr/>
          </p:nvSpPr>
          <p:spPr>
            <a:xfrm>
              <a:off x="8907067" y="4322870"/>
              <a:ext cx="476794" cy="126157"/>
            </a:xfrm>
            <a:prstGeom prst="rect">
              <a:avLst/>
            </a:prstGeom>
            <a:solidFill>
              <a:srgbClr val="B4C7E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58" name="Rectangle 38">
            <a:extLst>
              <a:ext uri="{FF2B5EF4-FFF2-40B4-BE49-F238E27FC236}">
                <a16:creationId xmlns:a16="http://schemas.microsoft.com/office/drawing/2014/main" id="{75A196D6-D217-59DB-A0D8-1345D0D0BD30}"/>
              </a:ext>
            </a:extLst>
          </p:cNvPr>
          <p:cNvSpPr/>
          <p:nvPr/>
        </p:nvSpPr>
        <p:spPr>
          <a:xfrm>
            <a:off x="6295037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8B7E495-6C2F-683D-E509-133C287E7AB5}"/>
              </a:ext>
            </a:extLst>
          </p:cNvPr>
          <p:cNvSpPr txBox="1"/>
          <p:nvPr/>
        </p:nvSpPr>
        <p:spPr>
          <a:xfrm>
            <a:off x="6521480" y="1751766"/>
            <a:ext cx="282572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РАЗБИВКА ПО ОТРАСЛЯМ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2" name="Chart 22">
            <a:extLst>
              <a:ext uri="{FF2B5EF4-FFF2-40B4-BE49-F238E27FC236}">
                <a16:creationId xmlns:a16="http://schemas.microsoft.com/office/drawing/2014/main" id="{73226DDE-2BAF-4DAE-44AB-A61C5E50F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2611233"/>
              </p:ext>
            </p:extLst>
          </p:nvPr>
        </p:nvGraphicFramePr>
        <p:xfrm>
          <a:off x="5606905" y="2200166"/>
          <a:ext cx="4064128" cy="270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9856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0E956BD-EAA8-F1A8-3AC9-E2053F384E4C}"/>
              </a:ext>
            </a:extLst>
          </p:cNvPr>
          <p:cNvSpPr txBox="1"/>
          <p:nvPr/>
        </p:nvSpPr>
        <p:spPr>
          <a:xfrm>
            <a:off x="1066800" y="2123349"/>
            <a:ext cx="9991725" cy="255454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Настоящая информация не является инвестиционной рекомендацией.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Данные в этом материале являются достоверными на момент публикации, однако мы не предоставляем гарантию.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Пожалуйста, имейте ввиду, что выводы и заключения, предоставленные в материале, основаны на информации, собранной добросовестно из первичных и вторичных источников, точность которых МФЦА не всегда способна гарантировать. 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Выводы, интерпретации и заключения, изложенные в данном материале, не обязательно отражают позицию Администрации МФЦА. Предоставленная информация предназначена только для общего ознакомления.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Администрация МФЦА не делает никаких заявлений и не предоставляет никаких гарантий, явных или подразумеваемых компетентность, достоверность, надежность или пригодность данного материала для его использования в ваших целях.</a:t>
            </a:r>
            <a:endParaRPr lang="en-US" sz="1400" b="0" i="0">
              <a:effectLst/>
              <a:latin typeface="Segoe UI" panose="020B0502040204020203" pitchFamily="34" charset="0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00C14416-5751-514C-0530-A9532657D1AE}"/>
              </a:ext>
            </a:extLst>
          </p:cNvPr>
          <p:cNvSpPr/>
          <p:nvPr/>
        </p:nvSpPr>
        <p:spPr>
          <a:xfrm>
            <a:off x="874240" y="1695450"/>
            <a:ext cx="10443515" cy="329565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1066801" y="1489901"/>
            <a:ext cx="2477677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r>
              <a:rPr lang="ru-RU" sz="2400" b="1">
                <a:latin typeface="Montserrat" panose="00000500000000000000" pitchFamily="2" charset="-52"/>
                <a:cs typeface="Mongolian Baiti" panose="03000500000000000000" pitchFamily="66" charset="0"/>
              </a:rPr>
              <a:t>ДИСКЛЕЙМЕР </a:t>
            </a:r>
          </a:p>
        </p:txBody>
      </p:sp>
    </p:spTree>
    <p:extLst>
      <p:ext uri="{BB962C8B-B14F-4D97-AF65-F5344CB8AC3E}">
        <p14:creationId xmlns:p14="http://schemas.microsoft.com/office/powerpoint/2010/main" val="245947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685800" y="5591528"/>
            <a:ext cx="2165652" cy="712295"/>
          </a:xfrm>
          <a:custGeom>
            <a:avLst/>
            <a:gdLst/>
            <a:ahLst/>
            <a:cxnLst/>
            <a:rect l="l" t="t" r="r" b="b"/>
            <a:pathLst>
              <a:path w="3248478" h="1068443">
                <a:moveTo>
                  <a:pt x="0" y="0"/>
                </a:moveTo>
                <a:lnTo>
                  <a:pt x="3248477" y="0"/>
                </a:lnTo>
                <a:lnTo>
                  <a:pt x="3248477" y="1068443"/>
                </a:lnTo>
                <a:lnTo>
                  <a:pt x="0" y="1068443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8A7C46E-532A-DD4A-48B7-EED70692DBF2}"/>
              </a:ext>
            </a:extLst>
          </p:cNvPr>
          <p:cNvSpPr/>
          <p:nvPr/>
        </p:nvSpPr>
        <p:spPr>
          <a:xfrm>
            <a:off x="6597158" y="713332"/>
            <a:ext cx="4091342" cy="3511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КОНТАКТНАЯ ИНФОРМАЦИЯ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3702D15-0BF6-9B2F-8945-9C77A755D226}"/>
              </a:ext>
            </a:extLst>
          </p:cNvPr>
          <p:cNvSpPr txBox="1"/>
          <p:nvPr/>
        </p:nvSpPr>
        <p:spPr>
          <a:xfrm>
            <a:off x="6978156" y="1476295"/>
            <a:ext cx="3080244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Сайт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: www.aifc.kz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FFB63CF4-FDC1-0169-2960-8CFEAF2CEDC3}"/>
              </a:ext>
            </a:extLst>
          </p:cNvPr>
          <p:cNvSpPr txBox="1"/>
          <p:nvPr/>
        </p:nvSpPr>
        <p:spPr>
          <a:xfrm>
            <a:off x="6978156" y="2053116"/>
            <a:ext cx="4091342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Биржа МФЦА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: Markets@aix.kz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A3AEF89-665D-61D1-A1BF-80120B0AC8F1}"/>
              </a:ext>
            </a:extLst>
          </p:cNvPr>
          <p:cNvSpPr txBox="1"/>
          <p:nvPr/>
        </p:nvSpPr>
        <p:spPr>
          <a:xfrm>
            <a:off x="6978155" y="2629938"/>
            <a:ext cx="4194077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Запросы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: DataAnalytics@aifc.kz </a:t>
            </a:r>
          </a:p>
        </p:txBody>
      </p:sp>
      <p:sp>
        <p:nvSpPr>
          <p:cNvPr id="125" name="Овал 7">
            <a:extLst>
              <a:ext uri="{FF2B5EF4-FFF2-40B4-BE49-F238E27FC236}">
                <a16:creationId xmlns:a16="http://schemas.microsoft.com/office/drawing/2014/main" id="{AA43A28A-F9BD-78B3-32A5-AA2D178C9DA4}"/>
              </a:ext>
            </a:extLst>
          </p:cNvPr>
          <p:cNvSpPr/>
          <p:nvPr/>
        </p:nvSpPr>
        <p:spPr>
          <a:xfrm>
            <a:off x="6635256" y="1588961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6" name="Straight Connector 57">
            <a:extLst>
              <a:ext uri="{FF2B5EF4-FFF2-40B4-BE49-F238E27FC236}">
                <a16:creationId xmlns:a16="http://schemas.microsoft.com/office/drawing/2014/main" id="{0F795987-889D-0896-245F-303BA2DE87FF}"/>
              </a:ext>
            </a:extLst>
          </p:cNvPr>
          <p:cNvCxnSpPr>
            <a:cxnSpLocks/>
            <a:stCxn id="125" idx="4"/>
            <a:endCxn id="127" idx="0"/>
          </p:cNvCxnSpPr>
          <p:nvPr/>
        </p:nvCxnSpPr>
        <p:spPr>
          <a:xfrm>
            <a:off x="6707256" y="1732961"/>
            <a:ext cx="0" cy="43282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Овал 11">
            <a:extLst>
              <a:ext uri="{FF2B5EF4-FFF2-40B4-BE49-F238E27FC236}">
                <a16:creationId xmlns:a16="http://schemas.microsoft.com/office/drawing/2014/main" id="{84660929-86CB-FB31-80C2-21AEB82A7944}"/>
              </a:ext>
            </a:extLst>
          </p:cNvPr>
          <p:cNvSpPr/>
          <p:nvPr/>
        </p:nvSpPr>
        <p:spPr>
          <a:xfrm>
            <a:off x="6635256" y="2165782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Овал 12">
            <a:extLst>
              <a:ext uri="{FF2B5EF4-FFF2-40B4-BE49-F238E27FC236}">
                <a16:creationId xmlns:a16="http://schemas.microsoft.com/office/drawing/2014/main" id="{549732B0-E68D-CB9F-BFE5-55E51105B8E0}"/>
              </a:ext>
            </a:extLst>
          </p:cNvPr>
          <p:cNvSpPr/>
          <p:nvPr/>
        </p:nvSpPr>
        <p:spPr>
          <a:xfrm>
            <a:off x="6635256" y="2742604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9" name="Straight Connector 57">
            <a:extLst>
              <a:ext uri="{FF2B5EF4-FFF2-40B4-BE49-F238E27FC236}">
                <a16:creationId xmlns:a16="http://schemas.microsoft.com/office/drawing/2014/main" id="{696FE3E7-3EAB-CA74-1426-2117541988FD}"/>
              </a:ext>
            </a:extLst>
          </p:cNvPr>
          <p:cNvCxnSpPr>
            <a:cxnSpLocks/>
            <a:stCxn id="127" idx="4"/>
            <a:endCxn id="128" idx="0"/>
          </p:cNvCxnSpPr>
          <p:nvPr/>
        </p:nvCxnSpPr>
        <p:spPr>
          <a:xfrm>
            <a:off x="6707256" y="2309782"/>
            <a:ext cx="0" cy="43282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24">
            <a:extLst>
              <a:ext uri="{FF2B5EF4-FFF2-40B4-BE49-F238E27FC236}">
                <a16:creationId xmlns:a16="http://schemas.microsoft.com/office/drawing/2014/main" id="{F9D16FF2-A513-9803-29EA-11B6AB3618C4}"/>
              </a:ext>
            </a:extLst>
          </p:cNvPr>
          <p:cNvSpPr txBox="1"/>
          <p:nvPr/>
        </p:nvSpPr>
        <p:spPr>
          <a:xfrm>
            <a:off x="685800" y="1222083"/>
            <a:ext cx="6158593" cy="3063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Администрация МФЦА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94A88F3-CDB5-5ED6-4D55-03F153C93601}"/>
              </a:ext>
            </a:extLst>
          </p:cNvPr>
          <p:cNvSpPr/>
          <p:nvPr/>
        </p:nvSpPr>
        <p:spPr>
          <a:xfrm>
            <a:off x="685800" y="712064"/>
            <a:ext cx="4465956" cy="3511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АВТОРЫ ОТЧЕТА</a:t>
            </a: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183571CA-2B96-9349-0A94-5E3D2B793E6E}"/>
              </a:ext>
            </a:extLst>
          </p:cNvPr>
          <p:cNvSpPr txBox="1"/>
          <p:nvPr/>
        </p:nvSpPr>
        <p:spPr>
          <a:xfrm>
            <a:off x="685799" y="4411169"/>
            <a:ext cx="6158593" cy="3063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Биржа МФЦА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EAC5C9-6115-01EE-0D1C-1023B0084E88}"/>
              </a:ext>
            </a:extLst>
          </p:cNvPr>
          <p:cNvSpPr txBox="1"/>
          <p:nvPr/>
        </p:nvSpPr>
        <p:spPr>
          <a:xfrm>
            <a:off x="882155" y="4754389"/>
            <a:ext cx="6096000" cy="626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Абилкасым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Бахтияр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Менеджер Департамента отчетности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Овал 7">
            <a:extLst>
              <a:ext uri="{FF2B5EF4-FFF2-40B4-BE49-F238E27FC236}">
                <a16:creationId xmlns:a16="http://schemas.microsoft.com/office/drawing/2014/main" id="{C858C0EF-F241-2999-7111-21EB70F27552}"/>
              </a:ext>
            </a:extLst>
          </p:cNvPr>
          <p:cNvSpPr/>
          <p:nvPr/>
        </p:nvSpPr>
        <p:spPr>
          <a:xfrm>
            <a:off x="613800" y="5012214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36AF4753-7566-85A5-5E3B-F86F0ED3F3A5}"/>
              </a:ext>
            </a:extLst>
          </p:cNvPr>
          <p:cNvSpPr txBox="1"/>
          <p:nvPr/>
        </p:nvSpPr>
        <p:spPr>
          <a:xfrm>
            <a:off x="879202" y="1529741"/>
            <a:ext cx="5403330" cy="28051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Каримсаков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Тимур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Руководитель Департамента аналитики данных и отраслевого анализа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err="1">
                <a:solidFill>
                  <a:prstClr val="white"/>
                </a:solidFill>
                <a:latin typeface="Montserrat"/>
              </a:rPr>
              <a:t>Бахазатханова</a:t>
            </a:r>
            <a:r>
              <a:rPr lang="ru-RU" sz="1600">
                <a:solidFill>
                  <a:prstClr val="white"/>
                </a:solidFill>
                <a:latin typeface="Montserrat"/>
              </a:rPr>
              <a:t> Аружан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lang="ru-RU" sz="1400">
                <a:solidFill>
                  <a:prstClr val="white"/>
                </a:solidFill>
                <a:latin typeface="Montserrat"/>
              </a:rPr>
              <a:t>Главный менеджер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Департамента аналитики данных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и </a:t>
            </a:r>
            <a:r>
              <a:rPr lang="ru-RU" sz="1400">
                <a:solidFill>
                  <a:prstClr val="white"/>
                </a:solidFill>
                <a:latin typeface="Montserrat"/>
              </a:rPr>
              <a:t>отраслевого анализа</a:t>
            </a:r>
            <a:endParaRPr lang="en-US" sz="1400">
              <a:solidFill>
                <a:prstClr val="white"/>
              </a:solidFill>
              <a:latin typeface="Montserrat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prstClr val="white"/>
                </a:solidFill>
                <a:latin typeface="Montserrat"/>
              </a:rPr>
              <a:t>C</a:t>
            </a:r>
            <a:r>
              <a:rPr lang="ru-RU" sz="1600" err="1">
                <a:solidFill>
                  <a:prstClr val="white"/>
                </a:solidFill>
                <a:latin typeface="Montserrat"/>
              </a:rPr>
              <a:t>арсен</a:t>
            </a:r>
            <a:r>
              <a:rPr lang="ru-RU" sz="1600">
                <a:solidFill>
                  <a:prstClr val="white"/>
                </a:solidFill>
                <a:latin typeface="Montserrat"/>
              </a:rPr>
              <a:t> Бердибек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lang="ru-RU" sz="1400">
                <a:solidFill>
                  <a:prstClr val="white"/>
                </a:solidFill>
                <a:latin typeface="Montserrat"/>
              </a:rPr>
              <a:t>М</a:t>
            </a:r>
            <a:r>
              <a:rPr kumimoji="0" lang="ru-RU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енеджер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Департамента аналитики данных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и отраслевого анализа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Овал 7">
            <a:extLst>
              <a:ext uri="{FF2B5EF4-FFF2-40B4-BE49-F238E27FC236}">
                <a16:creationId xmlns:a16="http://schemas.microsoft.com/office/drawing/2014/main" id="{141B71A3-87E8-E57E-187C-08EA9DADED85}"/>
              </a:ext>
            </a:extLst>
          </p:cNvPr>
          <p:cNvSpPr/>
          <p:nvPr/>
        </p:nvSpPr>
        <p:spPr>
          <a:xfrm>
            <a:off x="613800" y="1805371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Овал 7">
            <a:extLst>
              <a:ext uri="{FF2B5EF4-FFF2-40B4-BE49-F238E27FC236}">
                <a16:creationId xmlns:a16="http://schemas.microsoft.com/office/drawing/2014/main" id="{D9DDA2CC-FAFA-B9C6-780B-4761F7530739}"/>
              </a:ext>
            </a:extLst>
          </p:cNvPr>
          <p:cNvSpPr/>
          <p:nvPr/>
        </p:nvSpPr>
        <p:spPr>
          <a:xfrm>
            <a:off x="613800" y="2759394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Овал 7">
            <a:extLst>
              <a:ext uri="{FF2B5EF4-FFF2-40B4-BE49-F238E27FC236}">
                <a16:creationId xmlns:a16="http://schemas.microsoft.com/office/drawing/2014/main" id="{4BE95C5C-75AE-8F93-C9BE-3B1994B17067}"/>
              </a:ext>
            </a:extLst>
          </p:cNvPr>
          <p:cNvSpPr/>
          <p:nvPr/>
        </p:nvSpPr>
        <p:spPr>
          <a:xfrm>
            <a:off x="613800" y="3769780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Straight Connector 57">
            <a:extLst>
              <a:ext uri="{FF2B5EF4-FFF2-40B4-BE49-F238E27FC236}">
                <a16:creationId xmlns:a16="http://schemas.microsoft.com/office/drawing/2014/main" id="{27AC07BE-AAE1-DACE-D1F1-DB0C7E5A1016}"/>
              </a:ext>
            </a:extLst>
          </p:cNvPr>
          <p:cNvCxnSpPr>
            <a:cxnSpLocks/>
            <a:stCxn id="12" idx="4"/>
            <a:endCxn id="13" idx="0"/>
          </p:cNvCxnSpPr>
          <p:nvPr/>
        </p:nvCxnSpPr>
        <p:spPr>
          <a:xfrm>
            <a:off x="685800" y="1949371"/>
            <a:ext cx="0" cy="8100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7">
            <a:extLst>
              <a:ext uri="{FF2B5EF4-FFF2-40B4-BE49-F238E27FC236}">
                <a16:creationId xmlns:a16="http://schemas.microsoft.com/office/drawing/2014/main" id="{F81172F6-4B53-3E41-F89D-A1493020DE32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685800" y="2903394"/>
            <a:ext cx="0" cy="86638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5275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2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>
                <a:solidFill>
                  <a:srgbClr val="FFFFFF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СОДЕРЖАНИЕ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8EAA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0FA85B8B-87C1-535E-40BD-61CD91E9C933}"/>
              </a:ext>
            </a:extLst>
          </p:cNvPr>
          <p:cNvGrpSpPr/>
          <p:nvPr/>
        </p:nvGrpSpPr>
        <p:grpSpPr>
          <a:xfrm>
            <a:off x="7124488" y="4421798"/>
            <a:ext cx="5067512" cy="2473910"/>
            <a:chOff x="0" y="0"/>
            <a:chExt cx="12152015" cy="5932492"/>
          </a:xfrm>
        </p:grpSpPr>
        <p:sp>
          <p:nvSpPr>
            <p:cNvPr id="3" name="Freeform 3">
              <a:extLst>
                <a:ext uri="{FF2B5EF4-FFF2-40B4-BE49-F238E27FC236}">
                  <a16:creationId xmlns:a16="http://schemas.microsoft.com/office/drawing/2014/main" id="{A0D0063A-4585-D326-62C1-BCE273E7B03F}"/>
                </a:ext>
              </a:extLst>
            </p:cNvPr>
            <p:cNvSpPr/>
            <p:nvPr/>
          </p:nvSpPr>
          <p:spPr>
            <a:xfrm>
              <a:off x="0" y="0"/>
              <a:ext cx="6142076" cy="5932492"/>
            </a:xfrm>
            <a:custGeom>
              <a:avLst/>
              <a:gdLst/>
              <a:ahLst/>
              <a:cxnLst/>
              <a:rect l="l" t="t" r="r" b="b"/>
              <a:pathLst>
                <a:path w="6142076" h="5932492">
                  <a:moveTo>
                    <a:pt x="0" y="0"/>
                  </a:moveTo>
                  <a:lnTo>
                    <a:pt x="6142076" y="0"/>
                  </a:lnTo>
                  <a:lnTo>
                    <a:pt x="6142076" y="5932492"/>
                  </a:lnTo>
                  <a:lnTo>
                    <a:pt x="0" y="593249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 l="-18272" r="-154445"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66177999-FEE0-29A2-A2DF-FC8AD8C91560}"/>
                </a:ext>
              </a:extLst>
            </p:cNvPr>
            <p:cNvSpPr/>
            <p:nvPr/>
          </p:nvSpPr>
          <p:spPr>
            <a:xfrm>
              <a:off x="6003967" y="0"/>
              <a:ext cx="6148048" cy="5932492"/>
            </a:xfrm>
            <a:custGeom>
              <a:avLst/>
              <a:gdLst/>
              <a:ahLst/>
              <a:cxnLst/>
              <a:rect l="l" t="t" r="r" b="b"/>
              <a:pathLst>
                <a:path w="6148048" h="5932492">
                  <a:moveTo>
                    <a:pt x="0" y="0"/>
                  </a:moveTo>
                  <a:lnTo>
                    <a:pt x="6148048" y="0"/>
                  </a:lnTo>
                  <a:lnTo>
                    <a:pt x="6148048" y="5932492"/>
                  </a:lnTo>
                  <a:lnTo>
                    <a:pt x="0" y="593249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/>
              <a:stretch>
                <a:fillRect l="-172453"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87ED7BB-60B9-8589-891D-908A1DFCEABA}"/>
              </a:ext>
            </a:extLst>
          </p:cNvPr>
          <p:cNvGrpSpPr/>
          <p:nvPr/>
        </p:nvGrpSpPr>
        <p:grpSpPr>
          <a:xfrm>
            <a:off x="949042" y="1475811"/>
            <a:ext cx="5203564" cy="1011367"/>
            <a:chOff x="949042" y="2580697"/>
            <a:chExt cx="5203564" cy="101136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56EC6B1-914B-24FB-7837-E2AE0A0DB065}"/>
                </a:ext>
              </a:extLst>
            </p:cNvPr>
            <p:cNvSpPr txBox="1"/>
            <p:nvPr/>
          </p:nvSpPr>
          <p:spPr>
            <a:xfrm>
              <a:off x="949042" y="2580697"/>
              <a:ext cx="334073" cy="101136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1" i="0" u="none" strike="noStrike" kern="1200" cap="none" spc="0" normalizeH="0" baseline="0" noProof="0">
                  <a:ln>
                    <a:noFill/>
                  </a:ln>
                  <a:solidFill>
                    <a:srgbClr val="008EAA"/>
                  </a:solidFill>
                  <a:effectLst/>
                  <a:uLnTx/>
                  <a:uFillTx/>
                  <a:latin typeface="Montserrat ExtraLight" panose="020F0502020204030204" pitchFamily="2" charset="-52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6219E36-2ACD-F319-6C7A-ECA2683BBB2E}"/>
                </a:ext>
              </a:extLst>
            </p:cNvPr>
            <p:cNvSpPr txBox="1"/>
            <p:nvPr/>
          </p:nvSpPr>
          <p:spPr>
            <a:xfrm>
              <a:off x="1442357" y="2904087"/>
              <a:ext cx="4710249" cy="3645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46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-52"/>
                  <a:ea typeface="Verdana" panose="020B0604030504040204" pitchFamily="34" charset="0"/>
                  <a:cs typeface="Mongolian Baiti" panose="03000500000000000000" pitchFamily="66" charset="0"/>
                </a:rPr>
                <a:t>КРАТКИЙ ОБЗОР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32A86F5-727B-BEB0-4B73-741D0A836F3C}"/>
              </a:ext>
            </a:extLst>
          </p:cNvPr>
          <p:cNvSpPr txBox="1"/>
          <p:nvPr/>
        </p:nvSpPr>
        <p:spPr>
          <a:xfrm>
            <a:off x="949042" y="2866682"/>
            <a:ext cx="323187" cy="101136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0" normalizeH="0" baseline="0" noProof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 ExtraLight" panose="020F0502020204030204" pitchFamily="2" charset="-52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008EAA"/>
              </a:solidFill>
              <a:effectLst/>
              <a:uLnTx/>
              <a:uFillTx/>
              <a:latin typeface="Montserrat ExtraLight" panose="020F0502020204030204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494903-AF1D-6685-9430-5747D76F1F65}"/>
              </a:ext>
            </a:extLst>
          </p:cNvPr>
          <p:cNvSpPr txBox="1"/>
          <p:nvPr/>
        </p:nvSpPr>
        <p:spPr>
          <a:xfrm>
            <a:off x="1442357" y="2800799"/>
            <a:ext cx="7358743" cy="1660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>
              <a:lnSpc>
                <a:spcPct val="120000"/>
              </a:lnSpc>
              <a:defRPr/>
            </a:pPr>
            <a:r>
              <a:rPr lang="kk-KZ" sz="1600" b="1">
                <a:solidFill>
                  <a:schemeClr val="bg1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БИРЖА</a:t>
            </a:r>
            <a:r>
              <a:rPr lang="en-US" sz="1600" b="1">
                <a:solidFill>
                  <a:schemeClr val="bg1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 </a:t>
            </a:r>
            <a:r>
              <a:rPr lang="ru-RU" sz="1600" b="1">
                <a:solidFill>
                  <a:schemeClr val="bg1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МФЦА</a:t>
            </a:r>
            <a:endParaRPr lang="en-US" sz="1600" b="1">
              <a:solidFill>
                <a:schemeClr val="bg1"/>
              </a:solidFill>
              <a:latin typeface="Montserrat" panose="00000500000000000000" pitchFamily="2" charset="-52"/>
              <a:ea typeface="Verdana" panose="020B0604030504040204" pitchFamily="34" charset="0"/>
              <a:cs typeface="Mongolian Baiti" panose="03000500000000000000" pitchFamily="66" charset="0"/>
            </a:endParaRP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Розничные инвесторы и торговые члены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-52"/>
              <a:ea typeface="Verdana" panose="020B0604030504040204" pitchFamily="34" charset="0"/>
              <a:cs typeface="Mongolian Baiti" panose="03000500000000000000" pitchFamily="66" charset="0"/>
            </a:endParaRP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AIX QAZAQ</a:t>
            </a:r>
            <a:r>
              <a:rPr lang="en-US" sz="1400">
                <a:solidFill>
                  <a:prstClr val="white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 Index</a:t>
            </a: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-52"/>
              <a:ea typeface="Verdana" panose="020B0604030504040204" pitchFamily="34" charset="0"/>
              <a:cs typeface="Mongolian Baiti" panose="03000500000000000000" pitchFamily="66" charset="0"/>
            </a:endParaRP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Общий обзор</a:t>
            </a: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Рынок акций</a:t>
            </a: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Рынок долговых ценных бумаг</a:t>
            </a:r>
          </a:p>
        </p:txBody>
      </p:sp>
    </p:spTree>
    <p:extLst>
      <p:ext uri="{BB962C8B-B14F-4D97-AF65-F5344CB8AC3E}">
        <p14:creationId xmlns:p14="http://schemas.microsoft.com/office/powerpoint/2010/main" val="183710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2CB8FC-6BA7-8072-C621-DF5C7DA19DDD}"/>
              </a:ext>
            </a:extLst>
          </p:cNvPr>
          <p:cNvSpPr txBox="1"/>
          <p:nvPr/>
        </p:nvSpPr>
        <p:spPr>
          <a:xfrm>
            <a:off x="884760" y="894639"/>
            <a:ext cx="10432997" cy="93871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just">
              <a:defRPr/>
            </a:pPr>
            <a:r>
              <a:rPr lang="ru-RU" sz="1100" dirty="0">
                <a:latin typeface="Montserrat" panose="00000500000000000000" pitchFamily="2" charset="-52"/>
              </a:rPr>
              <a:t>По состоянию на третий квартал 2025 года AIX укрепила свою роль ключевой платформы для привлечения капитала и развития рыночной инфраструктуры в Казахстане и более широком регионе. Объём торгов достиг $</a:t>
            </a:r>
            <a:r>
              <a:rPr lang="en-US" sz="1100" dirty="0">
                <a:latin typeface="Montserrat" panose="00000500000000000000" pitchFamily="2" charset="-52"/>
              </a:rPr>
              <a:t>1</a:t>
            </a:r>
            <a:r>
              <a:rPr lang="ru-RU" sz="1100" dirty="0">
                <a:latin typeface="Montserrat" panose="00000500000000000000" pitchFamily="2" charset="-52"/>
              </a:rPr>
              <a:t>,</a:t>
            </a:r>
            <a:r>
              <a:rPr lang="en-US" sz="1100" dirty="0">
                <a:latin typeface="Montserrat" panose="00000500000000000000" pitchFamily="2" charset="-52"/>
              </a:rPr>
              <a:t>1</a:t>
            </a:r>
            <a:r>
              <a:rPr lang="ru-RU" sz="1100" dirty="0">
                <a:latin typeface="Montserrat" panose="00000500000000000000" pitchFamily="2" charset="-52"/>
              </a:rPr>
              <a:t> млрд, а количество ценных бумаг увеличилось на 106 новых листингов . Этот рост отражает устойчивое доверие со стороны как эмитентов, так и инвесторов как к надёжной торговой площадке. С момента запуска на площадке AIX было привлечено $9,3 млрд (долговые и долевые инструменты), а в Официальный список AIX включено 334 ценные бумаги.</a:t>
            </a:r>
            <a:endParaRPr lang="en-US" sz="1100" dirty="0">
              <a:solidFill>
                <a:prstClr val="black"/>
              </a:solidFill>
              <a:latin typeface="Montserrat" panose="00000500000000000000" pitchFamily="2" charset="-52"/>
              <a:cs typeface="Mongolian Baiti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5F9A3C-A6AC-7B2C-A7C3-15F9DC24E247}"/>
              </a:ext>
            </a:extLst>
          </p:cNvPr>
          <p:cNvCxnSpPr>
            <a:cxnSpLocks/>
          </p:cNvCxnSpPr>
          <p:nvPr/>
        </p:nvCxnSpPr>
        <p:spPr>
          <a:xfrm>
            <a:off x="7955518" y="1945674"/>
            <a:ext cx="0" cy="1117674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466F0B9-3675-657B-C473-020CF1F30D81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lvl="0" defTabSz="914492">
              <a:spcBef>
                <a:spcPct val="0"/>
              </a:spcBef>
              <a:defRPr/>
            </a:pPr>
            <a:r>
              <a:rPr lang="ru-RU" sz="2800" b="1">
                <a:solidFill>
                  <a:srgbClr val="002554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КРАТКИЙ ОБЗОР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0C1266-E225-8ED2-C006-32B899C9D767}"/>
              </a:ext>
            </a:extLst>
          </p:cNvPr>
          <p:cNvSpPr txBox="1"/>
          <p:nvPr/>
        </p:nvSpPr>
        <p:spPr>
          <a:xfrm>
            <a:off x="874239" y="2176332"/>
            <a:ext cx="4632261" cy="84638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/>
                <a:cs typeface="Mongolian Baiti"/>
              </a:rPr>
              <a:t>СОВОКУПНЫЙ ОБЪЕМ ТОРГОВ</a:t>
            </a:r>
            <a:endParaRPr lang="en-US" sz="1400">
              <a:latin typeface="Montserrat"/>
              <a:cs typeface="Mongolian Baiti"/>
            </a:endParaRPr>
          </a:p>
          <a:p>
            <a:pPr algn="just"/>
            <a:r>
              <a:rPr lang="ru-RU" sz="1100">
                <a:latin typeface="Montserrat"/>
                <a:cs typeface="Mongolian Baiti"/>
              </a:rPr>
              <a:t>Биржа МФЦА продемонстрировала значительное увеличение объема торгов, достигнув рекордного оборота с начала года в </a:t>
            </a:r>
            <a:r>
              <a:rPr lang="en-US" sz="1100">
                <a:latin typeface="Montserrat"/>
                <a:cs typeface="Mongolian Baiti"/>
              </a:rPr>
              <a:t>$</a:t>
            </a:r>
            <a:r>
              <a:rPr lang="ru-RU" sz="1100">
                <a:latin typeface="Montserrat"/>
                <a:cs typeface="Mongolian Baiti"/>
              </a:rPr>
              <a:t>1,1 млрд.</a:t>
            </a:r>
            <a:endParaRPr lang="en-US" sz="1100">
              <a:latin typeface="Montserrat"/>
              <a:cs typeface="Mongolian Baiti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02BFDA-01C8-BC15-39E0-C52E5EA1E45D}"/>
              </a:ext>
            </a:extLst>
          </p:cNvPr>
          <p:cNvSpPr txBox="1"/>
          <p:nvPr/>
        </p:nvSpPr>
        <p:spPr>
          <a:xfrm>
            <a:off x="8119649" y="1842624"/>
            <a:ext cx="2890858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$1</a:t>
            </a:r>
            <a:r>
              <a:rPr lang="ru-RU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,1 млрд</a:t>
            </a:r>
            <a:b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 panose="00000500000000000000" pitchFamily="2" charset="-52"/>
              </a:rPr>
              <a:t>По сравнению с $922 млн за тот же период 2024 года (+19,2%)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CE52669-6C30-49D8-B8FE-5E851C309AD3}"/>
              </a:ext>
            </a:extLst>
          </p:cNvPr>
          <p:cNvGrpSpPr/>
          <p:nvPr/>
        </p:nvGrpSpPr>
        <p:grpSpPr>
          <a:xfrm>
            <a:off x="5450564" y="1785091"/>
            <a:ext cx="2197100" cy="1307378"/>
            <a:chOff x="8287841" y="912871"/>
            <a:chExt cx="2197100" cy="130737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6D2DA82-8E3B-4E18-CBFC-74F182F2D293}"/>
                </a:ext>
              </a:extLst>
            </p:cNvPr>
            <p:cNvSpPr/>
            <p:nvPr/>
          </p:nvSpPr>
          <p:spPr>
            <a:xfrm>
              <a:off x="8287841" y="912871"/>
              <a:ext cx="2197100" cy="12782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spc="300">
                  <a:solidFill>
                    <a:srgbClr val="002454"/>
                  </a:solidFill>
                  <a:latin typeface="Montserrat" panose="00000500000000000000" pitchFamily="2" charset="-52"/>
                </a:rPr>
                <a:t>$</a:t>
              </a:r>
              <a:r>
                <a:rPr lang="ru-RU" sz="5400" b="1" spc="300">
                  <a:solidFill>
                    <a:srgbClr val="002454"/>
                  </a:solidFill>
                  <a:latin typeface="Montserrat" panose="00000500000000000000" pitchFamily="2" charset="-52"/>
                </a:rPr>
                <a:t>1,1</a:t>
              </a:r>
              <a:endParaRPr lang="en-US" sz="5400" b="1" spc="300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8139A96-E5E4-D85E-BEF9-4973CC52FA88}"/>
                </a:ext>
              </a:extLst>
            </p:cNvPr>
            <p:cNvSpPr txBox="1"/>
            <p:nvPr/>
          </p:nvSpPr>
          <p:spPr>
            <a:xfrm>
              <a:off x="8422798" y="1820139"/>
              <a:ext cx="192718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>
                  <a:solidFill>
                    <a:srgbClr val="002454"/>
                  </a:solidFill>
                  <a:latin typeface="Montserrat" panose="00000500000000000000" pitchFamily="2" charset="-52"/>
                </a:rPr>
                <a:t>млрд</a:t>
              </a:r>
              <a:endParaRPr lang="en-US">
                <a:solidFill>
                  <a:srgbClr val="002454"/>
                </a:solidFill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E774CA19-2CB6-AE17-7394-4BCE304B1768}"/>
              </a:ext>
            </a:extLst>
          </p:cNvPr>
          <p:cNvSpPr txBox="1"/>
          <p:nvPr/>
        </p:nvSpPr>
        <p:spPr>
          <a:xfrm>
            <a:off x="8119649" y="2558978"/>
            <a:ext cx="2978041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3</a:t>
            </a:r>
            <a: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ru-RU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6</a:t>
            </a:r>
            <a: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млрд</a:t>
            </a:r>
            <a:b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 panose="00000500000000000000" pitchFamily="2" charset="-52"/>
              </a:rPr>
              <a:t>Общий объём торгов с момента запуска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F8E264-AD05-6CF2-FD48-3938FDD3FEF5}"/>
              </a:ext>
            </a:extLst>
          </p:cNvPr>
          <p:cNvSpPr txBox="1"/>
          <p:nvPr/>
        </p:nvSpPr>
        <p:spPr>
          <a:xfrm>
            <a:off x="884760" y="5464256"/>
            <a:ext cx="4303368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</a:rPr>
              <a:t>ЛИСТИНГ ЦЕННЫХ БУМАГ</a:t>
            </a:r>
          </a:p>
          <a:p>
            <a:r>
              <a:rPr lang="ru-RU" sz="1100">
                <a:latin typeface="Montserrat" panose="00000500000000000000" pitchFamily="2" charset="-52"/>
              </a:rPr>
              <a:t>Официальном списке Биржи МФЦА включено 3</a:t>
            </a:r>
            <a:r>
              <a:rPr lang="en-US" sz="1100">
                <a:latin typeface="Montserrat" panose="00000500000000000000" pitchFamily="2" charset="-52"/>
              </a:rPr>
              <a:t>34</a:t>
            </a:r>
            <a:r>
              <a:rPr lang="ru-RU" sz="1100">
                <a:latin typeface="Montserrat" panose="00000500000000000000" pitchFamily="2" charset="-52"/>
              </a:rPr>
              <a:t> ценная бумага от 1</a:t>
            </a:r>
            <a:r>
              <a:rPr lang="en-US" sz="1100">
                <a:latin typeface="Montserrat" panose="00000500000000000000" pitchFamily="2" charset="-52"/>
              </a:rPr>
              <a:t>82</a:t>
            </a:r>
            <a:r>
              <a:rPr lang="ru-RU" sz="1100">
                <a:latin typeface="Montserrat" panose="00000500000000000000" pitchFamily="2" charset="-52"/>
              </a:rPr>
              <a:t> эмитентов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19" name="Straight Connector 11">
            <a:extLst>
              <a:ext uri="{FF2B5EF4-FFF2-40B4-BE49-F238E27FC236}">
                <a16:creationId xmlns:a16="http://schemas.microsoft.com/office/drawing/2014/main" id="{783E9007-AF1D-386C-F5A7-766434CD973F}"/>
              </a:ext>
            </a:extLst>
          </p:cNvPr>
          <p:cNvCxnSpPr>
            <a:cxnSpLocks/>
          </p:cNvCxnSpPr>
          <p:nvPr/>
        </p:nvCxnSpPr>
        <p:spPr>
          <a:xfrm>
            <a:off x="7965414" y="5143945"/>
            <a:ext cx="0" cy="1117674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C50E6EE-6390-804F-445C-744F3681E6AE}"/>
              </a:ext>
            </a:extLst>
          </p:cNvPr>
          <p:cNvSpPr txBox="1"/>
          <p:nvPr/>
        </p:nvSpPr>
        <p:spPr>
          <a:xfrm>
            <a:off x="8119649" y="5167776"/>
            <a:ext cx="2757960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+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106 листингов</a:t>
            </a:r>
            <a:b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</a:rPr>
              <a:t> по состоянию на 3 кв. 2025 год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17931-911F-7270-5603-3DBE3A72F16E}"/>
              </a:ext>
            </a:extLst>
          </p:cNvPr>
          <p:cNvSpPr txBox="1"/>
          <p:nvPr/>
        </p:nvSpPr>
        <p:spPr>
          <a:xfrm>
            <a:off x="8119649" y="5715056"/>
            <a:ext cx="2757960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+</a:t>
            </a:r>
            <a:r>
              <a:rPr lang="ru-RU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85</a:t>
            </a:r>
            <a:r>
              <a:rPr lang="en-US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b="1">
                <a:latin typeface="Montserrat" panose="00000500000000000000" pitchFamily="2" charset="-52"/>
                <a:cs typeface="Mongolian Baiti" panose="03000500000000000000" pitchFamily="66" charset="0"/>
              </a:rPr>
              <a:t>листингов</a:t>
            </a:r>
            <a:b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в</a:t>
            </a:r>
            <a:r>
              <a:rPr lang="ru-RU" sz="1200">
                <a:latin typeface="Montserrat" panose="00000500000000000000" pitchFamily="2" charset="-52"/>
              </a:rPr>
              <a:t> том же периоде 2024 года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BD0917C-71B8-7C12-E43C-A5A96C56CEB4}"/>
              </a:ext>
            </a:extLst>
          </p:cNvPr>
          <p:cNvSpPr txBox="1"/>
          <p:nvPr/>
        </p:nvSpPr>
        <p:spPr>
          <a:xfrm>
            <a:off x="863724" y="3845377"/>
            <a:ext cx="4303368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</a:rPr>
              <a:t>ПРИВЛЕЧЁННЫЙ КАПИТАЛ</a:t>
            </a:r>
          </a:p>
          <a:p>
            <a:r>
              <a:rPr lang="ru-RU" sz="1100">
                <a:latin typeface="Montserrat" panose="00000500000000000000" pitchFamily="2" charset="-52"/>
              </a:rPr>
              <a:t>Общий объём привлечённого капитала увеличился на $3,</a:t>
            </a:r>
            <a:r>
              <a:rPr lang="en-US" sz="1100">
                <a:latin typeface="Montserrat" panose="00000500000000000000" pitchFamily="2" charset="-52"/>
              </a:rPr>
              <a:t>3</a:t>
            </a:r>
            <a:r>
              <a:rPr lang="ru-RU" sz="1100">
                <a:latin typeface="Montserrat" panose="00000500000000000000" pitchFamily="2" charset="-52"/>
              </a:rPr>
              <a:t> млрд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18" name="Straight Connector 3">
            <a:extLst>
              <a:ext uri="{FF2B5EF4-FFF2-40B4-BE49-F238E27FC236}">
                <a16:creationId xmlns:a16="http://schemas.microsoft.com/office/drawing/2014/main" id="{484C1BF1-A02D-D242-531D-82521E5EAEF3}"/>
              </a:ext>
            </a:extLst>
          </p:cNvPr>
          <p:cNvCxnSpPr>
            <a:cxnSpLocks/>
          </p:cNvCxnSpPr>
          <p:nvPr/>
        </p:nvCxnSpPr>
        <p:spPr>
          <a:xfrm>
            <a:off x="7952654" y="3601616"/>
            <a:ext cx="0" cy="1117674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17E63D2-0426-645A-852D-9D2335680A26}"/>
              </a:ext>
            </a:extLst>
          </p:cNvPr>
          <p:cNvSpPr txBox="1"/>
          <p:nvPr/>
        </p:nvSpPr>
        <p:spPr>
          <a:xfrm>
            <a:off x="8140051" y="3540414"/>
            <a:ext cx="3171927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3,1</a:t>
            </a:r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млрд</a:t>
            </a:r>
            <a:endParaRPr lang="en-US" sz="1200" b="1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r>
              <a:rPr lang="ru-RU" sz="1200" dirty="0">
                <a:latin typeface="Montserrat" panose="00000500000000000000" pitchFamily="2" charset="-52"/>
              </a:rPr>
              <a:t>Привлечённый долговой капитал в третьем 2025 год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C51E5BE6-DF20-7554-8401-40C143B2F463}"/>
              </a:ext>
            </a:extLst>
          </p:cNvPr>
          <p:cNvGrpSpPr/>
          <p:nvPr/>
        </p:nvGrpSpPr>
        <p:grpSpPr>
          <a:xfrm>
            <a:off x="5295609" y="3384153"/>
            <a:ext cx="2609913" cy="1307378"/>
            <a:chOff x="5980886" y="934137"/>
            <a:chExt cx="2609913" cy="1307378"/>
          </a:xfrm>
        </p:grpSpPr>
        <p:sp>
          <p:nvSpPr>
            <p:cNvPr id="29" name="Rectangle 7">
              <a:extLst>
                <a:ext uri="{FF2B5EF4-FFF2-40B4-BE49-F238E27FC236}">
                  <a16:creationId xmlns:a16="http://schemas.microsoft.com/office/drawing/2014/main" id="{F3BBE2DB-92FC-7A8E-E15B-E57346F298A8}"/>
                </a:ext>
              </a:extLst>
            </p:cNvPr>
            <p:cNvSpPr/>
            <p:nvPr/>
          </p:nvSpPr>
          <p:spPr>
            <a:xfrm>
              <a:off x="5980886" y="934137"/>
              <a:ext cx="2416810" cy="12782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spc="300">
                  <a:solidFill>
                    <a:srgbClr val="002454"/>
                  </a:solidFill>
                  <a:latin typeface="Montserrat" panose="00000500000000000000" pitchFamily="2" charset="-52"/>
                </a:rPr>
                <a:t>$</a:t>
              </a:r>
              <a:r>
                <a:rPr lang="ru-RU" sz="5400" b="1" spc="300">
                  <a:solidFill>
                    <a:srgbClr val="002454"/>
                  </a:solidFill>
                  <a:latin typeface="Montserrat" panose="00000500000000000000" pitchFamily="2" charset="-52"/>
                </a:rPr>
                <a:t>3,3</a:t>
              </a:r>
              <a:endParaRPr lang="en-US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5C165B3-CC4D-89E4-2256-6E82FE6730F1}"/>
                </a:ext>
              </a:extLst>
            </p:cNvPr>
            <p:cNvSpPr txBox="1"/>
            <p:nvPr/>
          </p:nvSpPr>
          <p:spPr>
            <a:xfrm>
              <a:off x="6080734" y="1841405"/>
              <a:ext cx="251006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>
                  <a:solidFill>
                    <a:srgbClr val="002454"/>
                  </a:solidFill>
                  <a:latin typeface="Montserrat" panose="00000500000000000000" pitchFamily="2" charset="-52"/>
                </a:rPr>
                <a:t>млрд</a:t>
              </a:r>
              <a:endParaRPr lang="en-US" sz="2000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9DFF584-D1B2-AFC2-DDE8-3994F58905ED}"/>
              </a:ext>
            </a:extLst>
          </p:cNvPr>
          <p:cNvSpPr txBox="1"/>
          <p:nvPr/>
        </p:nvSpPr>
        <p:spPr>
          <a:xfrm>
            <a:off x="8140051" y="4290026"/>
            <a:ext cx="3171927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9,3</a:t>
            </a:r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млрд</a:t>
            </a:r>
            <a:endParaRPr lang="en-US" sz="1200" b="1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r>
              <a:rPr lang="ru-RU" sz="1200" dirty="0">
                <a:latin typeface="Montserrat" panose="00000500000000000000" pitchFamily="2" charset="-52"/>
              </a:rPr>
              <a:t>Привлечённый капитал с момента запуск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4" name="Straight Connector 11">
            <a:extLst>
              <a:ext uri="{FF2B5EF4-FFF2-40B4-BE49-F238E27FC236}">
                <a16:creationId xmlns:a16="http://schemas.microsoft.com/office/drawing/2014/main" id="{A5A876CD-25CD-ED14-4EE7-3B6C6AEAD73B}"/>
              </a:ext>
            </a:extLst>
          </p:cNvPr>
          <p:cNvCxnSpPr>
            <a:cxnSpLocks/>
          </p:cNvCxnSpPr>
          <p:nvPr/>
        </p:nvCxnSpPr>
        <p:spPr>
          <a:xfrm flipH="1">
            <a:off x="876855" y="3361849"/>
            <a:ext cx="10332000" cy="17643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D47A0D28-4BFB-FE53-0646-E1150D79534F}"/>
              </a:ext>
            </a:extLst>
          </p:cNvPr>
          <p:cNvCxnSpPr>
            <a:cxnSpLocks/>
          </p:cNvCxnSpPr>
          <p:nvPr/>
        </p:nvCxnSpPr>
        <p:spPr>
          <a:xfrm flipH="1">
            <a:off x="884760" y="4984572"/>
            <a:ext cx="10332000" cy="0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4">
            <a:extLst>
              <a:ext uri="{FF2B5EF4-FFF2-40B4-BE49-F238E27FC236}">
                <a16:creationId xmlns:a16="http://schemas.microsoft.com/office/drawing/2014/main" id="{9CD43137-6761-D8B6-8215-3844EF4D6D25}"/>
              </a:ext>
            </a:extLst>
          </p:cNvPr>
          <p:cNvGrpSpPr/>
          <p:nvPr/>
        </p:nvGrpSpPr>
        <p:grpSpPr>
          <a:xfrm>
            <a:off x="5344005" y="4970327"/>
            <a:ext cx="2510065" cy="1291145"/>
            <a:chOff x="6080734" y="950370"/>
            <a:chExt cx="2510065" cy="1291145"/>
          </a:xfrm>
        </p:grpSpPr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5249A442-E606-DC0C-FBBB-BB1ED2FB411A}"/>
                </a:ext>
              </a:extLst>
            </p:cNvPr>
            <p:cNvSpPr/>
            <p:nvPr/>
          </p:nvSpPr>
          <p:spPr>
            <a:xfrm>
              <a:off x="6105095" y="950370"/>
              <a:ext cx="2416810" cy="12782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spc="300">
                  <a:solidFill>
                    <a:srgbClr val="002454"/>
                  </a:solidFill>
                  <a:latin typeface="Montserrat" panose="00000500000000000000" pitchFamily="2" charset="-52"/>
                </a:rPr>
                <a:t>3</a:t>
              </a:r>
              <a:r>
                <a:rPr lang="ru-RU" sz="5400" b="1" spc="300">
                  <a:solidFill>
                    <a:srgbClr val="002454"/>
                  </a:solidFill>
                  <a:latin typeface="Montserrat" panose="00000500000000000000" pitchFamily="2" charset="-52"/>
                </a:rPr>
                <a:t>34</a:t>
              </a:r>
              <a:endParaRPr lang="en-US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CD26F87-B527-9E60-CA58-D4CC0D1D4FD8}"/>
                </a:ext>
              </a:extLst>
            </p:cNvPr>
            <p:cNvSpPr txBox="1"/>
            <p:nvPr/>
          </p:nvSpPr>
          <p:spPr>
            <a:xfrm>
              <a:off x="6080734" y="1841405"/>
              <a:ext cx="251006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>
                  <a:solidFill>
                    <a:srgbClr val="002454"/>
                  </a:solidFill>
                  <a:latin typeface="Montserrat" panose="00000500000000000000" pitchFamily="2" charset="-52"/>
                </a:rPr>
                <a:t>листинг</a:t>
              </a:r>
              <a:endParaRPr lang="en-US" sz="2000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346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ASTANA INTERNATIONAL EXCHANG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0DDF0D-AB1E-2104-5912-BFE0BDB19D94}"/>
              </a:ext>
            </a:extLst>
          </p:cNvPr>
          <p:cNvSpPr txBox="1"/>
          <p:nvPr/>
        </p:nvSpPr>
        <p:spPr>
          <a:xfrm>
            <a:off x="884760" y="894639"/>
            <a:ext cx="10432997" cy="461665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r>
              <a:rPr lang="en-US" sz="1200">
                <a:latin typeface="Montserrat"/>
                <a:cs typeface="Mongolian Baiti"/>
              </a:rPr>
              <a:t>Astana International Exchange </a:t>
            </a:r>
            <a:r>
              <a:rPr lang="ru-RU" sz="1200">
                <a:latin typeface="Montserrat"/>
                <a:cs typeface="Mongolian Baiti"/>
              </a:rPr>
              <a:t>(Биржа МФЦА) была основана в 2017 г. в рамках развития Международного финансового центра «Астана» (МФЦА).</a:t>
            </a:r>
            <a:endParaRPr lang="en-US" sz="1200">
              <a:latin typeface="Montserrat"/>
              <a:cs typeface="Mongolian Baiti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E88F02C-23C2-B2FB-1602-1C7F78B49250}"/>
              </a:ext>
            </a:extLst>
          </p:cNvPr>
          <p:cNvGrpSpPr/>
          <p:nvPr/>
        </p:nvGrpSpPr>
        <p:grpSpPr>
          <a:xfrm>
            <a:off x="874240" y="1749807"/>
            <a:ext cx="3101856" cy="1971152"/>
            <a:chOff x="874240" y="1749807"/>
            <a:chExt cx="3101856" cy="197115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CBD792-B8AF-751D-AE4E-2EFB265AEE56}"/>
                </a:ext>
              </a:extLst>
            </p:cNvPr>
            <p:cNvSpPr txBox="1"/>
            <p:nvPr/>
          </p:nvSpPr>
          <p:spPr>
            <a:xfrm>
              <a:off x="874240" y="1749807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 b="1">
                  <a:latin typeface="Montserrat" panose="00000500000000000000" pitchFamily="2" charset="-52"/>
                  <a:cs typeface="Mongolian Baiti" panose="03000500000000000000" pitchFamily="66" charset="0"/>
                </a:rPr>
                <a:t>АКЦИОНЕРЫ</a:t>
              </a:r>
              <a:endParaRPr lang="en-US" sz="1400" b="1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14" name="Овал 1053">
              <a:extLst>
                <a:ext uri="{FF2B5EF4-FFF2-40B4-BE49-F238E27FC236}">
                  <a16:creationId xmlns:a16="http://schemas.microsoft.com/office/drawing/2014/main" id="{61301D98-EF5C-A15B-2617-70A86B997CB4}"/>
                </a:ext>
              </a:extLst>
            </p:cNvPr>
            <p:cNvSpPr/>
            <p:nvPr/>
          </p:nvSpPr>
          <p:spPr>
            <a:xfrm rot="5400000">
              <a:off x="881548" y="2158802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cxnSp>
          <p:nvCxnSpPr>
            <p:cNvPr id="16" name="Straight Connector 57">
              <a:extLst>
                <a:ext uri="{FF2B5EF4-FFF2-40B4-BE49-F238E27FC236}">
                  <a16:creationId xmlns:a16="http://schemas.microsoft.com/office/drawing/2014/main" id="{9F8A7CF4-4BE2-1614-AF66-813D28F57E25}"/>
                </a:ext>
              </a:extLst>
            </p:cNvPr>
            <p:cNvCxnSpPr>
              <a:cxnSpLocks/>
              <a:stCxn id="18" idx="2"/>
              <a:endCxn id="14" idx="6"/>
            </p:cNvCxnSpPr>
            <p:nvPr/>
          </p:nvCxnSpPr>
          <p:spPr>
            <a:xfrm flipV="1">
              <a:off x="957546" y="2307586"/>
              <a:ext cx="0" cy="293165"/>
            </a:xfrm>
            <a:prstGeom prst="line">
              <a:avLst/>
            </a:prstGeom>
            <a:ln w="12700">
              <a:solidFill>
                <a:srgbClr val="008E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Овал 1053">
              <a:extLst>
                <a:ext uri="{FF2B5EF4-FFF2-40B4-BE49-F238E27FC236}">
                  <a16:creationId xmlns:a16="http://schemas.microsoft.com/office/drawing/2014/main" id="{2263CC0F-B8EC-92FD-B725-DFBCB53D6E7F}"/>
                </a:ext>
              </a:extLst>
            </p:cNvPr>
            <p:cNvSpPr/>
            <p:nvPr/>
          </p:nvSpPr>
          <p:spPr>
            <a:xfrm rot="5400000">
              <a:off x="881548" y="2603963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19" name="Овал 1053">
              <a:extLst>
                <a:ext uri="{FF2B5EF4-FFF2-40B4-BE49-F238E27FC236}">
                  <a16:creationId xmlns:a16="http://schemas.microsoft.com/office/drawing/2014/main" id="{52841A1A-DAA2-4FFB-517D-EFA898F985A2}"/>
                </a:ext>
              </a:extLst>
            </p:cNvPr>
            <p:cNvSpPr/>
            <p:nvPr/>
          </p:nvSpPr>
          <p:spPr>
            <a:xfrm rot="5400000">
              <a:off x="881548" y="3049124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23" name="Овал 1053">
              <a:extLst>
                <a:ext uri="{FF2B5EF4-FFF2-40B4-BE49-F238E27FC236}">
                  <a16:creationId xmlns:a16="http://schemas.microsoft.com/office/drawing/2014/main" id="{1F7C79CA-A5EE-669E-E580-0A8F0AA4A237}"/>
                </a:ext>
              </a:extLst>
            </p:cNvPr>
            <p:cNvSpPr/>
            <p:nvPr/>
          </p:nvSpPr>
          <p:spPr>
            <a:xfrm rot="5400000">
              <a:off x="881548" y="3494284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cxnSp>
          <p:nvCxnSpPr>
            <p:cNvPr id="29" name="Straight Connector 57">
              <a:extLst>
                <a:ext uri="{FF2B5EF4-FFF2-40B4-BE49-F238E27FC236}">
                  <a16:creationId xmlns:a16="http://schemas.microsoft.com/office/drawing/2014/main" id="{1FEFCE70-1FC0-3B7C-7D4E-9092F08ABE95}"/>
                </a:ext>
              </a:extLst>
            </p:cNvPr>
            <p:cNvCxnSpPr>
              <a:cxnSpLocks/>
              <a:stCxn id="19" idx="2"/>
              <a:endCxn id="18" idx="6"/>
            </p:cNvCxnSpPr>
            <p:nvPr/>
          </p:nvCxnSpPr>
          <p:spPr>
            <a:xfrm flipV="1">
              <a:off x="957546" y="2752747"/>
              <a:ext cx="0" cy="293165"/>
            </a:xfrm>
            <a:prstGeom prst="line">
              <a:avLst/>
            </a:prstGeom>
            <a:ln w="12700">
              <a:solidFill>
                <a:srgbClr val="008E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57">
              <a:extLst>
                <a:ext uri="{FF2B5EF4-FFF2-40B4-BE49-F238E27FC236}">
                  <a16:creationId xmlns:a16="http://schemas.microsoft.com/office/drawing/2014/main" id="{9F49B0B2-0AF9-F04A-C124-5FED14CC2517}"/>
                </a:ext>
              </a:extLst>
            </p:cNvPr>
            <p:cNvCxnSpPr>
              <a:cxnSpLocks/>
              <a:stCxn id="23" idx="2"/>
              <a:endCxn id="19" idx="6"/>
            </p:cNvCxnSpPr>
            <p:nvPr/>
          </p:nvCxnSpPr>
          <p:spPr>
            <a:xfrm flipV="1">
              <a:off x="957546" y="3197908"/>
              <a:ext cx="0" cy="293164"/>
            </a:xfrm>
            <a:prstGeom prst="line">
              <a:avLst/>
            </a:prstGeom>
            <a:ln w="12700">
              <a:solidFill>
                <a:srgbClr val="008E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D97525A-5C63-048C-4E37-98D0CB1F58B1}"/>
                </a:ext>
              </a:extLst>
            </p:cNvPr>
            <p:cNvSpPr txBox="1"/>
            <p:nvPr/>
          </p:nvSpPr>
          <p:spPr>
            <a:xfrm>
              <a:off x="1103118" y="2077700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Администрация МФЦА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10AD6B1-2624-C431-5FD2-6CF00FA291BF}"/>
                </a:ext>
              </a:extLst>
            </p:cNvPr>
            <p:cNvSpPr txBox="1"/>
            <p:nvPr/>
          </p:nvSpPr>
          <p:spPr>
            <a:xfrm>
              <a:off x="1103118" y="2522861"/>
              <a:ext cx="287297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Шанхайская фондовая биржа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6EFDC6A-869E-91BF-0887-8A7DE82E8A33}"/>
                </a:ext>
              </a:extLst>
            </p:cNvPr>
            <p:cNvSpPr txBox="1"/>
            <p:nvPr/>
          </p:nvSpPr>
          <p:spPr>
            <a:xfrm>
              <a:off x="1103117" y="2968022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Фонд Шелкового пути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B5B3CF-6EA6-40E7-739E-666955813F42}"/>
                </a:ext>
              </a:extLst>
            </p:cNvPr>
            <p:cNvSpPr txBox="1"/>
            <p:nvPr/>
          </p:nvSpPr>
          <p:spPr>
            <a:xfrm>
              <a:off x="1103117" y="3413182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NASDAQ</a:t>
              </a: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6849609C-94BE-C191-DBDE-24EB80586762}"/>
              </a:ext>
            </a:extLst>
          </p:cNvPr>
          <p:cNvSpPr txBox="1"/>
          <p:nvPr/>
        </p:nvSpPr>
        <p:spPr>
          <a:xfrm>
            <a:off x="4578750" y="1749807"/>
            <a:ext cx="2503959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ПРОДУКТЫ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52" name="Straight Connector 57">
            <a:extLst>
              <a:ext uri="{FF2B5EF4-FFF2-40B4-BE49-F238E27FC236}">
                <a16:creationId xmlns:a16="http://schemas.microsoft.com/office/drawing/2014/main" id="{7E545088-8965-3405-DDE8-14F3ADDAA5CD}"/>
              </a:ext>
            </a:extLst>
          </p:cNvPr>
          <p:cNvCxnSpPr>
            <a:cxnSpLocks/>
            <a:stCxn id="53" idx="2"/>
            <a:endCxn id="51" idx="6"/>
          </p:cNvCxnSpPr>
          <p:nvPr/>
        </p:nvCxnSpPr>
        <p:spPr>
          <a:xfrm flipV="1">
            <a:off x="4662056" y="2307586"/>
            <a:ext cx="0" cy="1470161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7">
            <a:extLst>
              <a:ext uri="{FF2B5EF4-FFF2-40B4-BE49-F238E27FC236}">
                <a16:creationId xmlns:a16="http://schemas.microsoft.com/office/drawing/2014/main" id="{51463A17-3502-0827-8137-F3A883723E03}"/>
              </a:ext>
            </a:extLst>
          </p:cNvPr>
          <p:cNvCxnSpPr>
            <a:cxnSpLocks/>
            <a:stCxn id="54" idx="2"/>
            <a:endCxn id="53" idx="6"/>
          </p:cNvCxnSpPr>
          <p:nvPr/>
        </p:nvCxnSpPr>
        <p:spPr>
          <a:xfrm flipV="1">
            <a:off x="4662056" y="3929743"/>
            <a:ext cx="0" cy="1676943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Овал 1053">
            <a:extLst>
              <a:ext uri="{FF2B5EF4-FFF2-40B4-BE49-F238E27FC236}">
                <a16:creationId xmlns:a16="http://schemas.microsoft.com/office/drawing/2014/main" id="{BD946395-5CE8-786B-549A-68167C439AC7}"/>
              </a:ext>
            </a:extLst>
          </p:cNvPr>
          <p:cNvSpPr/>
          <p:nvPr/>
        </p:nvSpPr>
        <p:spPr>
          <a:xfrm rot="5400000">
            <a:off x="4586058" y="2158802"/>
            <a:ext cx="151996" cy="145572"/>
          </a:xfrm>
          <a:prstGeom prst="ellipse">
            <a:avLst/>
          </a:prstGeom>
          <a:noFill/>
          <a:ln w="12700">
            <a:solidFill>
              <a:srgbClr val="008EA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1277E7D-E690-A851-C024-9EE0902C28E2}"/>
              </a:ext>
            </a:extLst>
          </p:cNvPr>
          <p:cNvSpPr txBox="1"/>
          <p:nvPr/>
        </p:nvSpPr>
        <p:spPr>
          <a:xfrm>
            <a:off x="4807627" y="2077700"/>
            <a:ext cx="2503959" cy="1436291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pPr>
              <a:spcAft>
                <a:spcPts val="400"/>
              </a:spcAft>
            </a:pPr>
            <a:r>
              <a:rPr lang="ru-RU" sz="1400">
                <a:latin typeface="Montserrat" panose="00000500000000000000" pitchFamily="2" charset="-52"/>
                <a:cs typeface="Mongolian Baiti" panose="03000500000000000000" pitchFamily="66" charset="0"/>
              </a:rPr>
              <a:t>Акции</a:t>
            </a:r>
            <a:endParaRPr lang="en-US" sz="140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pPr>
              <a:spcAft>
                <a:spcPts val="600"/>
              </a:spcAft>
            </a:pPr>
            <a:r>
              <a:rPr lang="en-US" sz="1400">
                <a:latin typeface="Montserrat" panose="00000500000000000000" pitchFamily="2" charset="-52"/>
                <a:cs typeface="Mongolian Baiti" panose="03000500000000000000" pitchFamily="66" charset="0"/>
              </a:rPr>
              <a:t>(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IPO/SPO, Pre-IPO, </a:t>
            </a:r>
            <a:r>
              <a:rPr lang="ru-RU" sz="1400">
                <a:solidFill>
                  <a:srgbClr val="000000"/>
                </a:solidFill>
                <a:latin typeface="Montserrat" panose="00000500000000000000" pitchFamily="2" charset="-52"/>
              </a:rPr>
              <a:t>сегмент регионального рынка акций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, Junior Mining, </a:t>
            </a:r>
            <a:r>
              <a:rPr lang="ru-RU" sz="1400">
                <a:solidFill>
                  <a:srgbClr val="000000"/>
                </a:solidFill>
                <a:latin typeface="Montserrat" panose="00000500000000000000" pitchFamily="2" charset="-52"/>
              </a:rPr>
              <a:t>сегмент 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“</a:t>
            </a:r>
            <a:r>
              <a:rPr lang="ru-RU" sz="1400">
                <a:solidFill>
                  <a:srgbClr val="000000"/>
                </a:solidFill>
                <a:latin typeface="Montserrat" panose="00000500000000000000" pitchFamily="2" charset="-52"/>
              </a:rPr>
              <a:t>Пояс и Путь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”</a:t>
            </a:r>
            <a:r>
              <a:rPr lang="en-US" sz="1400">
                <a:latin typeface="Montserrat" panose="00000500000000000000" pitchFamily="2" charset="-52"/>
                <a:cs typeface="Mongolian Baiti" panose="03000500000000000000" pitchFamily="66" charset="0"/>
              </a:rPr>
              <a:t>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BF2D8AA-A360-6C39-DF35-DBEB7E7A314D}"/>
              </a:ext>
            </a:extLst>
          </p:cNvPr>
          <p:cNvGrpSpPr/>
          <p:nvPr/>
        </p:nvGrpSpPr>
        <p:grpSpPr>
          <a:xfrm>
            <a:off x="4589270" y="3695527"/>
            <a:ext cx="2722317" cy="1651734"/>
            <a:chOff x="4589270" y="3695526"/>
            <a:chExt cx="2722317" cy="1651734"/>
          </a:xfrm>
        </p:grpSpPr>
        <p:sp>
          <p:nvSpPr>
            <p:cNvPr id="53" name="Овал 1053">
              <a:extLst>
                <a:ext uri="{FF2B5EF4-FFF2-40B4-BE49-F238E27FC236}">
                  <a16:creationId xmlns:a16="http://schemas.microsoft.com/office/drawing/2014/main" id="{5202733D-737D-C522-2735-3CEDEF689333}"/>
                </a:ext>
              </a:extLst>
            </p:cNvPr>
            <p:cNvSpPr/>
            <p:nvPr/>
          </p:nvSpPr>
          <p:spPr>
            <a:xfrm rot="5400000">
              <a:off x="4586058" y="3780958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68AFB7F-E7C0-84DC-02B5-FCAB9404065C}"/>
                </a:ext>
              </a:extLst>
            </p:cNvPr>
            <p:cNvSpPr txBox="1"/>
            <p:nvPr/>
          </p:nvSpPr>
          <p:spPr>
            <a:xfrm>
              <a:off x="4807628" y="3695526"/>
              <a:ext cx="2503959" cy="165173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Долговые инструменты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  <a:p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(</a:t>
              </a:r>
              <a:r>
                <a:rPr lang="ru-RU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государственные облигации</a:t>
              </a:r>
              <a:r>
                <a:rPr lang="en-US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, </a:t>
              </a:r>
              <a:r>
                <a:rPr lang="ru-RU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частные размещения (</a:t>
              </a:r>
              <a:r>
                <a:rPr lang="en-US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exempt/wholesale), </a:t>
              </a:r>
              <a:r>
                <a:rPr lang="ru-RU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исламские, зеленые и социальные облигации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)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3B1F041-C075-073E-3F08-2409252765B7}"/>
              </a:ext>
            </a:extLst>
          </p:cNvPr>
          <p:cNvGrpSpPr/>
          <p:nvPr/>
        </p:nvGrpSpPr>
        <p:grpSpPr>
          <a:xfrm>
            <a:off x="4589270" y="5528796"/>
            <a:ext cx="2722316" cy="523220"/>
            <a:chOff x="4589270" y="5528796"/>
            <a:chExt cx="2722316" cy="523220"/>
          </a:xfrm>
        </p:grpSpPr>
        <p:sp>
          <p:nvSpPr>
            <p:cNvPr id="54" name="Овал 1053">
              <a:extLst>
                <a:ext uri="{FF2B5EF4-FFF2-40B4-BE49-F238E27FC236}">
                  <a16:creationId xmlns:a16="http://schemas.microsoft.com/office/drawing/2014/main" id="{8705227B-FDFE-D29A-7230-98E639C85E12}"/>
                </a:ext>
              </a:extLst>
            </p:cNvPr>
            <p:cNvSpPr/>
            <p:nvPr/>
          </p:nvSpPr>
          <p:spPr>
            <a:xfrm rot="5400000">
              <a:off x="4586058" y="5609898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1D98961-4855-C474-EB10-DC0E47BECE83}"/>
                </a:ext>
              </a:extLst>
            </p:cNvPr>
            <p:cNvSpPr txBox="1"/>
            <p:nvPr/>
          </p:nvSpPr>
          <p:spPr>
            <a:xfrm>
              <a:off x="4807627" y="5528796"/>
              <a:ext cx="2503959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Структурированные продукты 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(</a:t>
              </a:r>
              <a:r>
                <a:rPr lang="en-US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ETF, ETN)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 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27977EFD-EAD5-394E-E302-D0231D7E9616}"/>
              </a:ext>
            </a:extLst>
          </p:cNvPr>
          <p:cNvSpPr txBox="1"/>
          <p:nvPr/>
        </p:nvSpPr>
        <p:spPr>
          <a:xfrm>
            <a:off x="8283260" y="1749807"/>
            <a:ext cx="2503959" cy="481192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ПРЕИМУЩЕСТВА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64" name="Straight Connector 57">
            <a:extLst>
              <a:ext uri="{FF2B5EF4-FFF2-40B4-BE49-F238E27FC236}">
                <a16:creationId xmlns:a16="http://schemas.microsoft.com/office/drawing/2014/main" id="{E31C8A09-BC36-1BC0-2CD6-26A8241C7AAB}"/>
              </a:ext>
            </a:extLst>
          </p:cNvPr>
          <p:cNvCxnSpPr>
            <a:cxnSpLocks/>
            <a:stCxn id="6" idx="2"/>
            <a:endCxn id="5" idx="6"/>
          </p:cNvCxnSpPr>
          <p:nvPr/>
        </p:nvCxnSpPr>
        <p:spPr>
          <a:xfrm flipV="1">
            <a:off x="8366566" y="2307586"/>
            <a:ext cx="0" cy="1051926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57">
            <a:extLst>
              <a:ext uri="{FF2B5EF4-FFF2-40B4-BE49-F238E27FC236}">
                <a16:creationId xmlns:a16="http://schemas.microsoft.com/office/drawing/2014/main" id="{1B54C2F3-8107-A5C5-3A93-F897F67B2220}"/>
              </a:ext>
            </a:extLst>
          </p:cNvPr>
          <p:cNvCxnSpPr>
            <a:cxnSpLocks/>
            <a:stCxn id="8" idx="2"/>
            <a:endCxn id="6" idx="6"/>
          </p:cNvCxnSpPr>
          <p:nvPr/>
        </p:nvCxnSpPr>
        <p:spPr>
          <a:xfrm flipV="1">
            <a:off x="8366566" y="3511508"/>
            <a:ext cx="0" cy="606551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530DF7-44D1-65CA-36FF-2A651E438F88}"/>
              </a:ext>
            </a:extLst>
          </p:cNvPr>
          <p:cNvGrpSpPr/>
          <p:nvPr/>
        </p:nvGrpSpPr>
        <p:grpSpPr>
          <a:xfrm>
            <a:off x="8293780" y="2077700"/>
            <a:ext cx="2940670" cy="954107"/>
            <a:chOff x="8293780" y="2077700"/>
            <a:chExt cx="2940670" cy="954107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856D277F-2FA6-02C1-2319-30E22AB13672}"/>
                </a:ext>
              </a:extLst>
            </p:cNvPr>
            <p:cNvSpPr txBox="1"/>
            <p:nvPr/>
          </p:nvSpPr>
          <p:spPr>
            <a:xfrm>
              <a:off x="8512136" y="2077700"/>
              <a:ext cx="2722314" cy="95410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Регуляторный режим,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 </a:t>
              </a:r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хорошо знакомый и понятный иностранным инвесторам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5" name="Овал 1053">
              <a:extLst>
                <a:ext uri="{FF2B5EF4-FFF2-40B4-BE49-F238E27FC236}">
                  <a16:creationId xmlns:a16="http://schemas.microsoft.com/office/drawing/2014/main" id="{1B8CC303-E18D-F7C8-5383-42DD018026C6}"/>
                </a:ext>
              </a:extLst>
            </p:cNvPr>
            <p:cNvSpPr/>
            <p:nvPr/>
          </p:nvSpPr>
          <p:spPr>
            <a:xfrm rot="5400000">
              <a:off x="8290568" y="2158802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3D8E987-C1EF-134B-D993-A3A4B0B2E1FF}"/>
              </a:ext>
            </a:extLst>
          </p:cNvPr>
          <p:cNvGrpSpPr/>
          <p:nvPr/>
        </p:nvGrpSpPr>
        <p:grpSpPr>
          <a:xfrm>
            <a:off x="8293780" y="4039287"/>
            <a:ext cx="2940666" cy="853382"/>
            <a:chOff x="8293780" y="4039287"/>
            <a:chExt cx="2940666" cy="853382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CB014E5-802F-753F-0A4F-D721090FCD54}"/>
                </a:ext>
              </a:extLst>
            </p:cNvPr>
            <p:cNvSpPr txBox="1"/>
            <p:nvPr/>
          </p:nvSpPr>
          <p:spPr>
            <a:xfrm>
              <a:off x="8512136" y="4039287"/>
              <a:ext cx="2722310" cy="8533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Высокотехнологичная торговая платформа 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NASDAQ</a:t>
              </a:r>
            </a:p>
          </p:txBody>
        </p:sp>
        <p:sp>
          <p:nvSpPr>
            <p:cNvPr id="8" name="Овал 1053">
              <a:extLst>
                <a:ext uri="{FF2B5EF4-FFF2-40B4-BE49-F238E27FC236}">
                  <a16:creationId xmlns:a16="http://schemas.microsoft.com/office/drawing/2014/main" id="{1FA2D6A2-FDB6-1B03-8CE6-AA74A9FFD2E6}"/>
                </a:ext>
              </a:extLst>
            </p:cNvPr>
            <p:cNvSpPr/>
            <p:nvPr/>
          </p:nvSpPr>
          <p:spPr>
            <a:xfrm rot="5400000">
              <a:off x="8290568" y="4121271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34D933E-AE3A-5E46-F662-E675EAC35A27}"/>
              </a:ext>
            </a:extLst>
          </p:cNvPr>
          <p:cNvGrpSpPr/>
          <p:nvPr/>
        </p:nvGrpSpPr>
        <p:grpSpPr>
          <a:xfrm>
            <a:off x="8293780" y="3273937"/>
            <a:ext cx="2940660" cy="523220"/>
            <a:chOff x="8293780" y="3233850"/>
            <a:chExt cx="2940660" cy="523220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381ED071-7B96-B38C-F999-363D41D12AD0}"/>
                </a:ext>
              </a:extLst>
            </p:cNvPr>
            <p:cNvSpPr txBox="1"/>
            <p:nvPr/>
          </p:nvSpPr>
          <p:spPr>
            <a:xfrm>
              <a:off x="8512130" y="3233850"/>
              <a:ext cx="2722310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Инфраструктура мирового класса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" name="Овал 1053">
              <a:extLst>
                <a:ext uri="{FF2B5EF4-FFF2-40B4-BE49-F238E27FC236}">
                  <a16:creationId xmlns:a16="http://schemas.microsoft.com/office/drawing/2014/main" id="{C996AFC3-30C7-190C-E029-37B35F4FBEE9}"/>
                </a:ext>
              </a:extLst>
            </p:cNvPr>
            <p:cNvSpPr/>
            <p:nvPr/>
          </p:nvSpPr>
          <p:spPr>
            <a:xfrm rot="5400000">
              <a:off x="8290568" y="3322637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</p:spTree>
    <p:extLst>
      <p:ext uri="{BB962C8B-B14F-4D97-AF65-F5344CB8AC3E}">
        <p14:creationId xmlns:p14="http://schemas.microsoft.com/office/powerpoint/2010/main" val="416900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9A7DC92-E6E0-F85D-D643-D022689C0378}"/>
              </a:ext>
            </a:extLst>
          </p:cNvPr>
          <p:cNvSpPr txBox="1"/>
          <p:nvPr/>
        </p:nvSpPr>
        <p:spPr>
          <a:xfrm>
            <a:off x="1115791" y="2721217"/>
            <a:ext cx="20794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,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 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млн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Розничных инвесторов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CF1E7F-60B0-9567-58C0-1F6E6E97154F}"/>
              </a:ext>
            </a:extLst>
          </p:cNvPr>
          <p:cNvSpPr txBox="1"/>
          <p:nvPr/>
        </p:nvSpPr>
        <p:spPr>
          <a:xfrm>
            <a:off x="1996491" y="4293168"/>
            <a:ext cx="384281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9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1CB1FF-F824-C06C-847C-D41370F8E7F2}"/>
              </a:ext>
            </a:extLst>
          </p:cNvPr>
          <p:cNvSpPr txBox="1"/>
          <p:nvPr/>
        </p:nvSpPr>
        <p:spPr>
          <a:xfrm>
            <a:off x="2403124" y="4295597"/>
            <a:ext cx="532788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62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50D8B1-7A0D-4661-75CE-0CAC4A43DF6A}"/>
              </a:ext>
            </a:extLst>
          </p:cNvPr>
          <p:cNvSpPr txBox="1"/>
          <p:nvPr/>
        </p:nvSpPr>
        <p:spPr>
          <a:xfrm>
            <a:off x="2896502" y="4244908"/>
            <a:ext cx="54042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02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9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79029F-A1AA-B3D6-CE2B-6F492AFA322C}"/>
              </a:ext>
            </a:extLst>
          </p:cNvPr>
          <p:cNvSpPr txBox="1"/>
          <p:nvPr/>
        </p:nvSpPr>
        <p:spPr>
          <a:xfrm>
            <a:off x="3366809" y="4156513"/>
            <a:ext cx="55776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59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lang="en-US" sz="1050">
                <a:latin typeface="Montserrat" panose="00000500000000000000" pitchFamily="2" charset="-52"/>
              </a:rPr>
              <a:t>9</a:t>
            </a:r>
            <a:r>
              <a:rPr lang="ru-RU" sz="1050">
                <a:latin typeface="Montserrat" panose="00000500000000000000" pitchFamily="2" charset="-52"/>
              </a:rPr>
              <a:t> тыс.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3910BA-E316-1ED7-902D-AB4F7F0DC8E4}"/>
              </a:ext>
            </a:extLst>
          </p:cNvPr>
          <p:cNvSpPr txBox="1"/>
          <p:nvPr/>
        </p:nvSpPr>
        <p:spPr>
          <a:xfrm>
            <a:off x="3844420" y="3759632"/>
            <a:ext cx="55776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24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3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D2D62C3-E812-AAFD-D2AD-8FB45CC906C8}"/>
              </a:ext>
            </a:extLst>
          </p:cNvPr>
          <p:cNvSpPr txBox="1"/>
          <p:nvPr/>
        </p:nvSpPr>
        <p:spPr>
          <a:xfrm>
            <a:off x="4336887" y="2691212"/>
            <a:ext cx="541417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</a:t>
            </a:r>
            <a:r>
              <a:rPr lang="en-US" sz="1050">
                <a:latin typeface="Montserrat" panose="00000500000000000000" pitchFamily="2" charset="-52"/>
              </a:rPr>
              <a:t>8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72A660-1918-B17A-D0F1-D979FE7BAD9D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560DEE-38F3-4857-D339-93070E0C0A9F}"/>
              </a:ext>
            </a:extLst>
          </p:cNvPr>
          <p:cNvSpPr txBox="1"/>
          <p:nvPr/>
        </p:nvSpPr>
        <p:spPr>
          <a:xfrm>
            <a:off x="6543940" y="2767493"/>
            <a:ext cx="204496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5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7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400" dirty="0">
                <a:latin typeface="Montserrat" panose="00000500000000000000" pitchFamily="2" charset="-52"/>
                <a:cs typeface="Mongolian Baiti" panose="03000500000000000000" pitchFamily="66" charset="0"/>
              </a:rPr>
              <a:t>Торговых членов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6188D5-0358-8F5C-0CC8-6BBC86EE5255}"/>
              </a:ext>
            </a:extLst>
          </p:cNvPr>
          <p:cNvSpPr/>
          <p:nvPr/>
        </p:nvSpPr>
        <p:spPr>
          <a:xfrm>
            <a:off x="6295038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ECA0113-5FE2-F5DA-CE28-D2A789698078}"/>
              </a:ext>
            </a:extLst>
          </p:cNvPr>
          <p:cNvSpPr txBox="1"/>
          <p:nvPr/>
        </p:nvSpPr>
        <p:spPr>
          <a:xfrm>
            <a:off x="884760" y="894639"/>
            <a:ext cx="10432998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На конец 3-го квартала 2025 года около 2,</a:t>
            </a:r>
            <a: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  <a:t>2</a:t>
            </a: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 млн граждан Казахстана имели инвестиционные счета в AIX CSD. Количество торговых членов AIX составляет 57, включая брокеров из Казахстана, Китая, Европы и Ближнего Востока. С начала 2025 года </a:t>
            </a:r>
            <a:r>
              <a:rPr lang="ru-RU" sz="1200">
                <a:latin typeface="Montserrat" panose="00000500000000000000" pitchFamily="2" charset="-52"/>
              </a:rPr>
              <a:t>на платформу вышли 4 новых брокера</a:t>
            </a: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83C324DD-E9C4-E5CB-B1AA-66FE44A406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9905945"/>
              </p:ext>
            </p:extLst>
          </p:nvPr>
        </p:nvGraphicFramePr>
        <p:xfrm>
          <a:off x="8193551" y="1796517"/>
          <a:ext cx="3290026" cy="3211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2FD64AC-5415-C72A-A1E8-44F5EDF29AEC}"/>
              </a:ext>
            </a:extLst>
          </p:cNvPr>
          <p:cNvSpPr txBox="1"/>
          <p:nvPr/>
        </p:nvSpPr>
        <p:spPr>
          <a:xfrm>
            <a:off x="4844919" y="2272960"/>
            <a:ext cx="482172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05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</a:defRPr>
            </a:lvl1pPr>
          </a:lstStyle>
          <a:p>
            <a:pPr>
              <a:spcAft>
                <a:spcPts val="0"/>
              </a:spcAft>
              <a:defRPr/>
            </a:pPr>
            <a:r>
              <a:rPr lang="ru-RU"/>
              <a:t>2 </a:t>
            </a:r>
          </a:p>
          <a:p>
            <a:pPr>
              <a:spcAft>
                <a:spcPts val="0"/>
              </a:spcAft>
              <a:defRPr/>
            </a:pPr>
            <a:r>
              <a:rPr lang="ru-RU"/>
              <a:t>млн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0123FF-32CD-E3C2-B262-0E0A05226841}"/>
              </a:ext>
            </a:extLst>
          </p:cNvPr>
          <p:cNvSpPr txBox="1"/>
          <p:nvPr/>
        </p:nvSpPr>
        <p:spPr>
          <a:xfrm>
            <a:off x="1115791" y="1749807"/>
            <a:ext cx="285309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РОЗНИЧНЫЕ ИНВЕСТОРЫ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D608DF-899F-BC78-E834-75944859BB02}"/>
              </a:ext>
            </a:extLst>
          </p:cNvPr>
          <p:cNvSpPr txBox="1"/>
          <p:nvPr/>
        </p:nvSpPr>
        <p:spPr>
          <a:xfrm>
            <a:off x="6521481" y="1751766"/>
            <a:ext cx="2119085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ТОРГОВЫЕ ЧЛЕНЫ</a:t>
            </a:r>
            <a:endParaRPr lang="en-US" sz="12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D327E7-DF7F-046F-6264-B66A4ADE35A8}"/>
              </a:ext>
            </a:extLst>
          </p:cNvPr>
          <p:cNvSpPr txBox="1"/>
          <p:nvPr/>
        </p:nvSpPr>
        <p:spPr>
          <a:xfrm>
            <a:off x="6284519" y="5492494"/>
            <a:ext cx="5022720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200">
                <a:latin typeface="Montserrat"/>
                <a:cs typeface="Mongolian Baiti"/>
              </a:rPr>
              <a:t>Торговые члены Биржи МФЦА имеют право торговать финансовыми инструментами (акциями, облигациями) на Бирже МФЦА. Они совершают сделки от имени своих клиентов.</a:t>
            </a:r>
            <a:endParaRPr lang="en-US" sz="1100">
              <a:latin typeface="Montserrat"/>
              <a:cs typeface="Mongolian Bait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CB6614-2CA5-FB01-214B-36E455F342D8}"/>
              </a:ext>
            </a:extLst>
          </p:cNvPr>
          <p:cNvSpPr txBox="1"/>
          <p:nvPr/>
        </p:nvSpPr>
        <p:spPr>
          <a:xfrm>
            <a:off x="927042" y="5492494"/>
            <a:ext cx="4980438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200">
                <a:latin typeface="Montserrat"/>
                <a:cs typeface="Mongolian Baiti"/>
              </a:rPr>
              <a:t>Розничные инвесторы - физ. лица, инвестирующие свои собственные средства на финансовых рынках, в отличие от организаций или управляющих средствами других лиц.</a:t>
            </a:r>
            <a:endParaRPr lang="en-US" sz="1100" b="1">
              <a:latin typeface="Montserrat"/>
              <a:cs typeface="Mongolian Baiti"/>
            </a:endParaRPr>
          </a:p>
        </p:txBody>
      </p:sp>
      <p:grpSp>
        <p:nvGrpSpPr>
          <p:cNvPr id="15" name="Group 13">
            <a:extLst>
              <a:ext uri="{FF2B5EF4-FFF2-40B4-BE49-F238E27FC236}">
                <a16:creationId xmlns:a16="http://schemas.microsoft.com/office/drawing/2014/main" id="{FD8E0A19-26C8-0C37-9E8B-60381F6A752A}"/>
              </a:ext>
            </a:extLst>
          </p:cNvPr>
          <p:cNvGrpSpPr/>
          <p:nvPr/>
        </p:nvGrpSpPr>
        <p:grpSpPr>
          <a:xfrm>
            <a:off x="6433552" y="4908031"/>
            <a:ext cx="1271457" cy="276999"/>
            <a:chOff x="6470624" y="5013777"/>
            <a:chExt cx="1271457" cy="2769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CF38E1-F016-25ED-FA40-B35D6F2B9FD8}"/>
                </a:ext>
              </a:extLst>
            </p:cNvPr>
            <p:cNvSpPr txBox="1"/>
            <p:nvPr/>
          </p:nvSpPr>
          <p:spPr>
            <a:xfrm>
              <a:off x="6726936" y="5013777"/>
              <a:ext cx="101514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ахстан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A120B639-0DED-B695-E37C-61F1A16B53FC}"/>
                </a:ext>
              </a:extLst>
            </p:cNvPr>
            <p:cNvSpPr/>
            <p:nvPr/>
          </p:nvSpPr>
          <p:spPr>
            <a:xfrm>
              <a:off x="6470624" y="5106370"/>
              <a:ext cx="305177" cy="94784"/>
            </a:xfrm>
            <a:prstGeom prst="rect">
              <a:avLst/>
            </a:prstGeom>
            <a:solidFill>
              <a:srgbClr val="002454"/>
            </a:solidFill>
            <a:ln>
              <a:solidFill>
                <a:srgbClr val="00245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2454"/>
                </a:solidFill>
              </a:endParaRPr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DCB91D8F-2284-0962-CCC3-E476F68937C8}"/>
              </a:ext>
            </a:extLst>
          </p:cNvPr>
          <p:cNvGrpSpPr/>
          <p:nvPr/>
        </p:nvGrpSpPr>
        <p:grpSpPr>
          <a:xfrm>
            <a:off x="8804765" y="4908031"/>
            <a:ext cx="1663879" cy="276999"/>
            <a:chOff x="8559537" y="5013777"/>
            <a:chExt cx="1663879" cy="276999"/>
          </a:xfrm>
        </p:grpSpPr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F55AD9F4-0C0E-1AFE-77C1-AFE94FC74219}"/>
                </a:ext>
              </a:extLst>
            </p:cNvPr>
            <p:cNvSpPr/>
            <p:nvPr/>
          </p:nvSpPr>
          <p:spPr>
            <a:xfrm>
              <a:off x="8559537" y="5104884"/>
              <a:ext cx="305177" cy="94784"/>
            </a:xfrm>
            <a:prstGeom prst="rect">
              <a:avLst/>
            </a:prstGeom>
            <a:solidFill>
              <a:srgbClr val="008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14491D6-E671-AC82-82D3-7FB8FA661055}"/>
                </a:ext>
              </a:extLst>
            </p:cNvPr>
            <p:cNvSpPr txBox="1"/>
            <p:nvPr/>
          </p:nvSpPr>
          <p:spPr>
            <a:xfrm>
              <a:off x="8834757" y="5013777"/>
              <a:ext cx="138865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Китай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/</a:t>
              </a: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Гонконг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grpSp>
        <p:nvGrpSpPr>
          <p:cNvPr id="27" name="Group 11">
            <a:extLst>
              <a:ext uri="{FF2B5EF4-FFF2-40B4-BE49-F238E27FC236}">
                <a16:creationId xmlns:a16="http://schemas.microsoft.com/office/drawing/2014/main" id="{E95E568F-34FB-F180-2999-022DD1908126}"/>
              </a:ext>
            </a:extLst>
          </p:cNvPr>
          <p:cNvGrpSpPr/>
          <p:nvPr/>
        </p:nvGrpSpPr>
        <p:grpSpPr>
          <a:xfrm>
            <a:off x="7714902" y="4908031"/>
            <a:ext cx="1079970" cy="276999"/>
            <a:chOff x="7458235" y="5013777"/>
            <a:chExt cx="1079970" cy="276999"/>
          </a:xfrm>
        </p:grpSpPr>
        <p:sp>
          <p:nvSpPr>
            <p:cNvPr id="28" name="Rectangle 42">
              <a:extLst>
                <a:ext uri="{FF2B5EF4-FFF2-40B4-BE49-F238E27FC236}">
                  <a16:creationId xmlns:a16="http://schemas.microsoft.com/office/drawing/2014/main" id="{383DCFE3-DACA-2ACF-62A5-1D1E7F5463A2}"/>
                </a:ext>
              </a:extLst>
            </p:cNvPr>
            <p:cNvSpPr/>
            <p:nvPr/>
          </p:nvSpPr>
          <p:spPr>
            <a:xfrm>
              <a:off x="7458235" y="5104884"/>
              <a:ext cx="305177" cy="94784"/>
            </a:xfrm>
            <a:prstGeom prst="rect">
              <a:avLst/>
            </a:prstGeom>
            <a:solidFill>
              <a:srgbClr val="0075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80606D3-A628-3719-B858-75E1D43A2249}"/>
                </a:ext>
              </a:extLst>
            </p:cNvPr>
            <p:cNvSpPr txBox="1"/>
            <p:nvPr/>
          </p:nvSpPr>
          <p:spPr>
            <a:xfrm>
              <a:off x="7732590" y="5013777"/>
              <a:ext cx="80561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Европа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grpSp>
        <p:nvGrpSpPr>
          <p:cNvPr id="30" name="Group 9">
            <a:extLst>
              <a:ext uri="{FF2B5EF4-FFF2-40B4-BE49-F238E27FC236}">
                <a16:creationId xmlns:a16="http://schemas.microsoft.com/office/drawing/2014/main" id="{04BBB0B4-44F0-E1DB-0566-DBCCDE3C91DD}"/>
              </a:ext>
            </a:extLst>
          </p:cNvPr>
          <p:cNvGrpSpPr/>
          <p:nvPr/>
        </p:nvGrpSpPr>
        <p:grpSpPr>
          <a:xfrm>
            <a:off x="10478537" y="4908031"/>
            <a:ext cx="841757" cy="276999"/>
            <a:chOff x="9576861" y="5013777"/>
            <a:chExt cx="841757" cy="276999"/>
          </a:xfrm>
        </p:grpSpPr>
        <p:sp>
          <p:nvSpPr>
            <p:cNvPr id="31" name="Rectangle 44">
              <a:extLst>
                <a:ext uri="{FF2B5EF4-FFF2-40B4-BE49-F238E27FC236}">
                  <a16:creationId xmlns:a16="http://schemas.microsoft.com/office/drawing/2014/main" id="{4D8A2592-CD1B-EE9C-CA35-904FE43003EB}"/>
                </a:ext>
              </a:extLst>
            </p:cNvPr>
            <p:cNvSpPr/>
            <p:nvPr/>
          </p:nvSpPr>
          <p:spPr>
            <a:xfrm>
              <a:off x="9576861" y="5104884"/>
              <a:ext cx="305177" cy="94784"/>
            </a:xfrm>
            <a:prstGeom prst="rect">
              <a:avLst/>
            </a:prstGeom>
            <a:solidFill>
              <a:srgbClr val="7CB5B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8F6E70D-AD60-53DD-E98D-F03EA67D1B9D}"/>
                </a:ext>
              </a:extLst>
            </p:cNvPr>
            <p:cNvSpPr txBox="1"/>
            <p:nvPr/>
          </p:nvSpPr>
          <p:spPr>
            <a:xfrm>
              <a:off x="9852082" y="5013777"/>
              <a:ext cx="56653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ОАЭ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1D9A82D-1B0D-49BB-4232-5F36564F9A17}"/>
              </a:ext>
            </a:extLst>
          </p:cNvPr>
          <p:cNvSpPr txBox="1"/>
          <p:nvPr/>
        </p:nvSpPr>
        <p:spPr>
          <a:xfrm>
            <a:off x="874240" y="354965"/>
            <a:ext cx="10304043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РОЗНИЧНЫЕ ИНВЕСТОРЫ И ТОРГОВЫЕ ЧЛЕН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5EC0D0-F053-5456-3C7B-0CF23EDD19F8}"/>
              </a:ext>
            </a:extLst>
          </p:cNvPr>
          <p:cNvSpPr txBox="1"/>
          <p:nvPr/>
        </p:nvSpPr>
        <p:spPr>
          <a:xfrm>
            <a:off x="5335539" y="2178291"/>
            <a:ext cx="482172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05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</a:defRPr>
            </a:lvl1pPr>
          </a:lstStyle>
          <a:p>
            <a:pPr>
              <a:spcAft>
                <a:spcPts val="0"/>
              </a:spcAft>
              <a:defRPr/>
            </a:pPr>
            <a:r>
              <a:rPr lang="ru-RU"/>
              <a:t>2,</a:t>
            </a:r>
            <a:r>
              <a:rPr lang="en-US"/>
              <a:t>2</a:t>
            </a:r>
            <a:r>
              <a:rPr lang="ru-RU"/>
              <a:t> </a:t>
            </a:r>
          </a:p>
          <a:p>
            <a:pPr>
              <a:spcAft>
                <a:spcPts val="0"/>
              </a:spcAft>
              <a:defRPr/>
            </a:pPr>
            <a:r>
              <a:rPr lang="ru-RU"/>
              <a:t>млн</a:t>
            </a:r>
            <a:endParaRPr lang="en-US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461547B-F320-83E2-828D-91EC8BEA31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7203193"/>
              </p:ext>
            </p:extLst>
          </p:nvPr>
        </p:nvGraphicFramePr>
        <p:xfrm>
          <a:off x="1752250" y="2272960"/>
          <a:ext cx="4171052" cy="2957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7870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44691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AIX QAZAQ INDEX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72A660-1918-B17A-D0F1-D979FE7BAD9D}"/>
              </a:ext>
            </a:extLst>
          </p:cNvPr>
          <p:cNvSpPr/>
          <p:nvPr/>
        </p:nvSpPr>
        <p:spPr>
          <a:xfrm>
            <a:off x="884761" y="1927110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0FBD74-1BC8-5257-6CF3-9781229D5275}"/>
              </a:ext>
            </a:extLst>
          </p:cNvPr>
          <p:cNvSpPr txBox="1"/>
          <p:nvPr/>
        </p:nvSpPr>
        <p:spPr>
          <a:xfrm>
            <a:off x="927042" y="5491639"/>
            <a:ext cx="4938158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200">
                <a:latin typeface="Montserrat"/>
                <a:cs typeface="Mongolian Baiti"/>
              </a:rPr>
              <a:t>Динамика индекса отражает, насколько изменилась его общая стоимость за определённый период. Значение индекса является ключевым показателем для оценки состояния финансовых рынков.</a:t>
            </a:r>
            <a:endParaRPr lang="en-US" sz="1100">
              <a:latin typeface="Montserrat"/>
              <a:cs typeface="Mongolian Baiti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3C0BA75-0FD2-76CD-C06E-4A144E013343}"/>
              </a:ext>
            </a:extLst>
          </p:cNvPr>
          <p:cNvCxnSpPr>
            <a:cxnSpLocks/>
          </p:cNvCxnSpPr>
          <p:nvPr/>
        </p:nvCxnSpPr>
        <p:spPr>
          <a:xfrm>
            <a:off x="874240" y="6520895"/>
            <a:ext cx="1044351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9EF1E2AC-B7F0-9755-A337-6F10DC256FDC}"/>
              </a:ext>
            </a:extLst>
          </p:cNvPr>
          <p:cNvSpPr txBox="1"/>
          <p:nvPr/>
        </p:nvSpPr>
        <p:spPr>
          <a:xfrm>
            <a:off x="874240" y="6502895"/>
            <a:ext cx="4938158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*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Изменение стоимости</a:t>
            </a:r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акций в</a:t>
            </a:r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 3 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квартале 2025 года</a:t>
            </a:r>
            <a:endParaRPr lang="en-US" sz="9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0BB913E-0975-CF49-6F4B-AFE33584F8D0}"/>
              </a:ext>
            </a:extLst>
          </p:cNvPr>
          <p:cNvSpPr txBox="1"/>
          <p:nvPr/>
        </p:nvSpPr>
        <p:spPr>
          <a:xfrm>
            <a:off x="6501808" y="5436688"/>
            <a:ext cx="49381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Компании, включенные в индекс – это компании, зарегистрированные в Казахстане, доходы от бизнеса которых генерируются частично или полностью в Казахстане, или компании с существенной долей операционной деятельности в Казахстане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2FBB72-B751-D905-F2B0-A5D002D0A84B}"/>
              </a:ext>
            </a:extLst>
          </p:cNvPr>
          <p:cNvSpPr txBox="1"/>
          <p:nvPr/>
        </p:nvSpPr>
        <p:spPr>
          <a:xfrm>
            <a:off x="1115791" y="1780629"/>
            <a:ext cx="2932228" cy="30497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ЗНАЧЕНИЕ ИНДЕКСА </a:t>
            </a:r>
            <a: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AIXQI</a:t>
            </a:r>
          </a:p>
        </p:txBody>
      </p:sp>
      <p:sp>
        <p:nvSpPr>
          <p:cNvPr id="56" name="Rectangle 48">
            <a:extLst>
              <a:ext uri="{FF2B5EF4-FFF2-40B4-BE49-F238E27FC236}">
                <a16:creationId xmlns:a16="http://schemas.microsoft.com/office/drawing/2014/main" id="{06F6B044-BB4C-06E7-6B48-7238EAD475D2}"/>
              </a:ext>
            </a:extLst>
          </p:cNvPr>
          <p:cNvSpPr/>
          <p:nvPr/>
        </p:nvSpPr>
        <p:spPr>
          <a:xfrm>
            <a:off x="6295672" y="1927110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ED9A9AE-41E1-F160-A2A3-DA8031F593FF}"/>
              </a:ext>
            </a:extLst>
          </p:cNvPr>
          <p:cNvSpPr txBox="1"/>
          <p:nvPr/>
        </p:nvSpPr>
        <p:spPr>
          <a:xfrm>
            <a:off x="6501808" y="1753755"/>
            <a:ext cx="414652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СОСТАВЛЯЮЩИЕ ИНДЕКСА </a:t>
            </a:r>
            <a: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AIXQI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4A33B26-7243-4A11-091F-CD34CBE69720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 dirty="0">
                <a:latin typeface="Montserrat"/>
                <a:cs typeface="Mongolian Baiti"/>
              </a:rPr>
              <a:t>Запущенный в 2021 г. AIX </a:t>
            </a:r>
            <a:r>
              <a:rPr lang="ru-RU" sz="1200" dirty="0" err="1">
                <a:latin typeface="Montserrat"/>
                <a:cs typeface="Mongolian Baiti"/>
              </a:rPr>
              <a:t>Qazaq</a:t>
            </a:r>
            <a:r>
              <a:rPr lang="en-US" sz="1200" dirty="0">
                <a:latin typeface="Montserrat"/>
                <a:cs typeface="Mongolian Baiti"/>
              </a:rPr>
              <a:t> Index</a:t>
            </a:r>
            <a:r>
              <a:rPr lang="ru-RU" sz="1200" dirty="0">
                <a:latin typeface="Montserrat"/>
                <a:cs typeface="Mongolian Baiti"/>
              </a:rPr>
              <a:t> (индекс </a:t>
            </a:r>
            <a:r>
              <a:rPr lang="en-US" sz="1200" dirty="0">
                <a:latin typeface="Montserrat"/>
                <a:cs typeface="Mongolian Baiti"/>
              </a:rPr>
              <a:t>AIXQI</a:t>
            </a:r>
            <a:r>
              <a:rPr lang="ru-RU" sz="1200" dirty="0">
                <a:latin typeface="Montserrat"/>
                <a:cs typeface="Mongolian Baiti"/>
              </a:rPr>
              <a:t>) является взвешенным по рыночной капитализации индексом, который состоит из акций и глобальных депозитарных расписок (GDR) казахстанских и связанных с Казахстаном компаний. В 2025 году значение индекса AIX </a:t>
            </a:r>
            <a:r>
              <a:rPr lang="ru-RU" sz="1200" dirty="0" err="1">
                <a:latin typeface="Montserrat"/>
                <a:cs typeface="Mongolian Baiti"/>
              </a:rPr>
              <a:t>Qazaq</a:t>
            </a:r>
            <a:r>
              <a:rPr lang="ru-RU" sz="1200" dirty="0">
                <a:latin typeface="Montserrat"/>
                <a:cs typeface="Mongolian Baiti"/>
              </a:rPr>
              <a:t> оставалось в целом без существенных изменений на протяжении года.</a:t>
            </a:r>
            <a:endParaRPr lang="en-US" sz="1200" dirty="0">
              <a:latin typeface="Montserrat"/>
              <a:cs typeface="Mongolian Baiti"/>
            </a:endParaRPr>
          </a:p>
        </p:txBody>
      </p:sp>
      <p:graphicFrame>
        <p:nvGraphicFramePr>
          <p:cNvPr id="6" name="Chart 14">
            <a:extLst>
              <a:ext uri="{FF2B5EF4-FFF2-40B4-BE49-F238E27FC236}">
                <a16:creationId xmlns:a16="http://schemas.microsoft.com/office/drawing/2014/main" id="{C81FBB69-7BF4-B0B1-AB0A-139FB40348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3600157"/>
              </p:ext>
            </p:extLst>
          </p:nvPr>
        </p:nvGraphicFramePr>
        <p:xfrm>
          <a:off x="5340936" y="2285886"/>
          <a:ext cx="4160901" cy="2797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0" name="TextBox 159">
            <a:extLst>
              <a:ext uri="{FF2B5EF4-FFF2-40B4-BE49-F238E27FC236}">
                <a16:creationId xmlns:a16="http://schemas.microsoft.com/office/drawing/2014/main" id="{B78BAF26-5A7E-4238-6466-75EED7ED7C42}"/>
              </a:ext>
            </a:extLst>
          </p:cNvPr>
          <p:cNvSpPr txBox="1"/>
          <p:nvPr/>
        </p:nvSpPr>
        <p:spPr>
          <a:xfrm>
            <a:off x="1115791" y="2728803"/>
            <a:ext cx="111405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 5</a:t>
            </a:r>
            <a:r>
              <a:rPr lang="ru-RU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6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6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Значение индекс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5D19242-425D-D85D-AB6F-65F9607008CD}"/>
              </a:ext>
            </a:extLst>
          </p:cNvPr>
          <p:cNvSpPr txBox="1"/>
          <p:nvPr/>
        </p:nvSpPr>
        <p:spPr>
          <a:xfrm>
            <a:off x="2319618" y="4972530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7725B10-A017-0A55-66A1-0F5CEA4D2AD7}"/>
              </a:ext>
            </a:extLst>
          </p:cNvPr>
          <p:cNvSpPr txBox="1"/>
          <p:nvPr/>
        </p:nvSpPr>
        <p:spPr>
          <a:xfrm>
            <a:off x="3150001" y="4961803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8B063DE-5EB6-BEAA-3D4D-B5A50E2ADAC6}"/>
              </a:ext>
            </a:extLst>
          </p:cNvPr>
          <p:cNvSpPr txBox="1"/>
          <p:nvPr/>
        </p:nvSpPr>
        <p:spPr>
          <a:xfrm>
            <a:off x="3926166" y="4965528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3</a:t>
            </a:r>
          </a:p>
        </p:txBody>
      </p:sp>
      <p:cxnSp>
        <p:nvCxnSpPr>
          <p:cNvPr id="53" name="Straight Connector 45">
            <a:extLst>
              <a:ext uri="{FF2B5EF4-FFF2-40B4-BE49-F238E27FC236}">
                <a16:creationId xmlns:a16="http://schemas.microsoft.com/office/drawing/2014/main" id="{E229DD4E-D4AB-CC1E-07E1-5A23F025A8AB}"/>
              </a:ext>
            </a:extLst>
          </p:cNvPr>
          <p:cNvCxnSpPr/>
          <p:nvPr/>
        </p:nvCxnSpPr>
        <p:spPr>
          <a:xfrm>
            <a:off x="2096782" y="4877564"/>
            <a:ext cx="350851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A086EE4A-4DD4-78B6-07B0-0F58890071B0}"/>
              </a:ext>
            </a:extLst>
          </p:cNvPr>
          <p:cNvSpPr txBox="1"/>
          <p:nvPr/>
        </p:nvSpPr>
        <p:spPr>
          <a:xfrm>
            <a:off x="2400213" y="3427577"/>
            <a:ext cx="762175" cy="230832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/>
              </a:rPr>
              <a:t>1 </a:t>
            </a:r>
            <a:r>
              <a:rPr lang="en-US" sz="900">
                <a:latin typeface="Montserrat"/>
              </a:rPr>
              <a:t>104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3A5B690-542F-CD8C-7F76-AB8B4C2765A6}"/>
              </a:ext>
            </a:extLst>
          </p:cNvPr>
          <p:cNvSpPr txBox="1"/>
          <p:nvPr/>
        </p:nvSpPr>
        <p:spPr>
          <a:xfrm>
            <a:off x="3169602" y="3759196"/>
            <a:ext cx="762175" cy="230832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900">
                <a:latin typeface="Montserrat"/>
              </a:rPr>
              <a:t>938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F370EDE-165D-DCEF-8CAB-52A55EA57277}"/>
              </a:ext>
            </a:extLst>
          </p:cNvPr>
          <p:cNvSpPr txBox="1"/>
          <p:nvPr/>
        </p:nvSpPr>
        <p:spPr>
          <a:xfrm>
            <a:off x="3935948" y="3202659"/>
            <a:ext cx="511718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 217</a:t>
            </a: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C6479D18-2179-D1BA-52BD-BF121B5C7B2A}"/>
              </a:ext>
            </a:extLst>
          </p:cNvPr>
          <p:cNvCxnSpPr>
            <a:cxnSpLocks/>
          </p:cNvCxnSpPr>
          <p:nvPr/>
        </p:nvCxnSpPr>
        <p:spPr>
          <a:xfrm flipV="1">
            <a:off x="2594081" y="3782825"/>
            <a:ext cx="0" cy="107130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2B7C5926-F935-B3A2-43C1-DAAC2C91F262}"/>
              </a:ext>
            </a:extLst>
          </p:cNvPr>
          <p:cNvCxnSpPr>
            <a:cxnSpLocks/>
          </p:cNvCxnSpPr>
          <p:nvPr/>
        </p:nvCxnSpPr>
        <p:spPr>
          <a:xfrm flipV="1">
            <a:off x="3504179" y="4162040"/>
            <a:ext cx="0" cy="7101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67169AF6-490C-62C0-F195-DFDFC71C7062}"/>
              </a:ext>
            </a:extLst>
          </p:cNvPr>
          <p:cNvCxnSpPr>
            <a:cxnSpLocks/>
          </p:cNvCxnSpPr>
          <p:nvPr/>
        </p:nvCxnSpPr>
        <p:spPr>
          <a:xfrm flipV="1">
            <a:off x="2233214" y="3906429"/>
            <a:ext cx="0" cy="96575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4AA3AAD-2F9C-5752-6DEB-5AF248C4E466}"/>
              </a:ext>
            </a:extLst>
          </p:cNvPr>
          <p:cNvSpPr txBox="1"/>
          <p:nvPr/>
        </p:nvSpPr>
        <p:spPr>
          <a:xfrm>
            <a:off x="5131472" y="2260058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 5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66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63" name="Прямая соединительная линия 19">
            <a:extLst>
              <a:ext uri="{FF2B5EF4-FFF2-40B4-BE49-F238E27FC236}">
                <a16:creationId xmlns:a16="http://schemas.microsoft.com/office/drawing/2014/main" id="{BF98B8B0-19A2-D2AD-93BF-68FACAF93515}"/>
              </a:ext>
            </a:extLst>
          </p:cNvPr>
          <p:cNvCxnSpPr>
            <a:cxnSpLocks/>
          </p:cNvCxnSpPr>
          <p:nvPr/>
        </p:nvCxnSpPr>
        <p:spPr>
          <a:xfrm flipV="1">
            <a:off x="5554122" y="2561639"/>
            <a:ext cx="0" cy="229249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9BC2CFC6-96B0-3BC5-63BC-C854A9950DB0}"/>
              </a:ext>
            </a:extLst>
          </p:cNvPr>
          <p:cNvSpPr txBox="1"/>
          <p:nvPr/>
        </p:nvSpPr>
        <p:spPr>
          <a:xfrm>
            <a:off x="1831906" y="4965528"/>
            <a:ext cx="762175" cy="230832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900">
                <a:latin typeface="Montserrat" panose="00000500000000000000" pitchFamily="2" charset="-52"/>
              </a:rPr>
              <a:t>Launch</a:t>
            </a:r>
            <a:endParaRPr lang="ru-RU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690D4C5-91BF-8791-5110-1D84BFF0522C}"/>
              </a:ext>
            </a:extLst>
          </p:cNvPr>
          <p:cNvSpPr txBox="1"/>
          <p:nvPr/>
        </p:nvSpPr>
        <p:spPr>
          <a:xfrm>
            <a:off x="5204598" y="4961812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3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кв.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2025</a:t>
            </a:r>
          </a:p>
        </p:txBody>
      </p:sp>
      <p:cxnSp>
        <p:nvCxnSpPr>
          <p:cNvPr id="66" name="Прямая соединительная линия 19">
            <a:extLst>
              <a:ext uri="{FF2B5EF4-FFF2-40B4-BE49-F238E27FC236}">
                <a16:creationId xmlns:a16="http://schemas.microsoft.com/office/drawing/2014/main" id="{868C76DE-D9CD-156A-A395-61F2B7CAC33C}"/>
              </a:ext>
            </a:extLst>
          </p:cNvPr>
          <p:cNvCxnSpPr>
            <a:cxnSpLocks/>
          </p:cNvCxnSpPr>
          <p:nvPr/>
        </p:nvCxnSpPr>
        <p:spPr>
          <a:xfrm flipV="1">
            <a:off x="5104358" y="2692444"/>
            <a:ext cx="0" cy="218512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10213176-0BD5-BCC3-DA1B-131E4C6BC2EF}"/>
              </a:ext>
            </a:extLst>
          </p:cNvPr>
          <p:cNvSpPr txBox="1"/>
          <p:nvPr/>
        </p:nvSpPr>
        <p:spPr>
          <a:xfrm>
            <a:off x="4682539" y="2379620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 5</a:t>
            </a:r>
            <a:r>
              <a:rPr lang="ru-RU" sz="900">
                <a:latin typeface="Montserrat" panose="00000500000000000000" pitchFamily="2" charset="-52"/>
              </a:rPr>
              <a:t>54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132CD1D-5CED-5C48-AB46-58924E2D32F9}"/>
              </a:ext>
            </a:extLst>
          </p:cNvPr>
          <p:cNvSpPr txBox="1"/>
          <p:nvPr/>
        </p:nvSpPr>
        <p:spPr>
          <a:xfrm>
            <a:off x="4723106" y="4961814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4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69" name="Прямая соединительная линия 19">
            <a:extLst>
              <a:ext uri="{FF2B5EF4-FFF2-40B4-BE49-F238E27FC236}">
                <a16:creationId xmlns:a16="http://schemas.microsoft.com/office/drawing/2014/main" id="{867F0170-6917-132A-E246-E86BB9A78BCC}"/>
              </a:ext>
            </a:extLst>
          </p:cNvPr>
          <p:cNvCxnSpPr>
            <a:cxnSpLocks/>
          </p:cNvCxnSpPr>
          <p:nvPr/>
        </p:nvCxnSpPr>
        <p:spPr>
          <a:xfrm flipV="1">
            <a:off x="4308907" y="3504831"/>
            <a:ext cx="0" cy="13492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" name="Chart 11">
            <a:extLst>
              <a:ext uri="{FF2B5EF4-FFF2-40B4-BE49-F238E27FC236}">
                <a16:creationId xmlns:a16="http://schemas.microsoft.com/office/drawing/2014/main" id="{0AD14A68-9F99-D996-04F9-97768DFA76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6269185"/>
              </p:ext>
            </p:extLst>
          </p:nvPr>
        </p:nvGraphicFramePr>
        <p:xfrm>
          <a:off x="2096782" y="2103757"/>
          <a:ext cx="3600000" cy="2802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705EA0B-F57C-D930-CE44-0D6D4D4333A5}"/>
              </a:ext>
            </a:extLst>
          </p:cNvPr>
          <p:cNvSpPr txBox="1"/>
          <p:nvPr/>
        </p:nvSpPr>
        <p:spPr>
          <a:xfrm>
            <a:off x="9240535" y="2052659"/>
            <a:ext cx="169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Freedom (</a:t>
            </a:r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+</a:t>
            </a:r>
            <a:r>
              <a:rPr lang="en-US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3</a:t>
            </a:r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1,</a:t>
            </a:r>
            <a:r>
              <a:rPr lang="en-US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7%*)</a:t>
            </a:r>
          </a:p>
        </p:txBody>
      </p:sp>
      <p:sp>
        <p:nvSpPr>
          <p:cNvPr id="4" name="Rectangle 16">
            <a:extLst>
              <a:ext uri="{FF2B5EF4-FFF2-40B4-BE49-F238E27FC236}">
                <a16:creationId xmlns:a16="http://schemas.microsoft.com/office/drawing/2014/main" id="{CAA494B0-1E3F-BF62-718A-22FA83079B84}"/>
              </a:ext>
            </a:extLst>
          </p:cNvPr>
          <p:cNvSpPr/>
          <p:nvPr/>
        </p:nvSpPr>
        <p:spPr>
          <a:xfrm>
            <a:off x="8878946" y="2635100"/>
            <a:ext cx="358223" cy="114688"/>
          </a:xfrm>
          <a:prstGeom prst="rect">
            <a:avLst/>
          </a:prstGeom>
          <a:solidFill>
            <a:srgbClr val="0058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4659D105-9E13-8B19-6A3C-05E073BD9356}"/>
              </a:ext>
            </a:extLst>
          </p:cNvPr>
          <p:cNvSpPr/>
          <p:nvPr/>
        </p:nvSpPr>
        <p:spPr>
          <a:xfrm>
            <a:off x="8878946" y="2889590"/>
            <a:ext cx="358223" cy="114688"/>
          </a:xfrm>
          <a:prstGeom prst="rect">
            <a:avLst/>
          </a:prstGeom>
          <a:solidFill>
            <a:srgbClr val="0082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53B4A0A9-97DB-36D8-44BD-AE8A82810CBF}"/>
              </a:ext>
            </a:extLst>
          </p:cNvPr>
          <p:cNvSpPr/>
          <p:nvPr/>
        </p:nvSpPr>
        <p:spPr>
          <a:xfrm>
            <a:off x="8878946" y="3144080"/>
            <a:ext cx="358223" cy="114688"/>
          </a:xfrm>
          <a:prstGeom prst="rect">
            <a:avLst/>
          </a:prstGeom>
          <a:solidFill>
            <a:srgbClr val="549E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22">
            <a:extLst>
              <a:ext uri="{FF2B5EF4-FFF2-40B4-BE49-F238E27FC236}">
                <a16:creationId xmlns:a16="http://schemas.microsoft.com/office/drawing/2014/main" id="{614FBFFC-4B34-A7FF-A7B6-7BDAEE153ECB}"/>
              </a:ext>
            </a:extLst>
          </p:cNvPr>
          <p:cNvSpPr/>
          <p:nvPr/>
        </p:nvSpPr>
        <p:spPr>
          <a:xfrm>
            <a:off x="8878946" y="3398570"/>
            <a:ext cx="358223" cy="11468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23">
            <a:extLst>
              <a:ext uri="{FF2B5EF4-FFF2-40B4-BE49-F238E27FC236}">
                <a16:creationId xmlns:a16="http://schemas.microsoft.com/office/drawing/2014/main" id="{8CBB6B59-B74F-8357-8888-7F04EA1ED6FE}"/>
              </a:ext>
            </a:extLst>
          </p:cNvPr>
          <p:cNvSpPr/>
          <p:nvPr/>
        </p:nvSpPr>
        <p:spPr>
          <a:xfrm>
            <a:off x="8878946" y="3653060"/>
            <a:ext cx="358223" cy="114688"/>
          </a:xfrm>
          <a:prstGeom prst="rect">
            <a:avLst/>
          </a:prstGeom>
          <a:solidFill>
            <a:srgbClr val="26A6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4F76977F-D75C-9E81-59FD-1DCF18524CAD}"/>
              </a:ext>
            </a:extLst>
          </p:cNvPr>
          <p:cNvSpPr/>
          <p:nvPr/>
        </p:nvSpPr>
        <p:spPr>
          <a:xfrm>
            <a:off x="8878946" y="3907550"/>
            <a:ext cx="358223" cy="114688"/>
          </a:xfrm>
          <a:prstGeom prst="rect">
            <a:avLst/>
          </a:prstGeom>
          <a:solidFill>
            <a:srgbClr val="82C6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90D8572E-A298-992B-7E67-F791AF1B204E}"/>
              </a:ext>
            </a:extLst>
          </p:cNvPr>
          <p:cNvSpPr/>
          <p:nvPr/>
        </p:nvSpPr>
        <p:spPr>
          <a:xfrm>
            <a:off x="8878946" y="4162040"/>
            <a:ext cx="358223" cy="114688"/>
          </a:xfrm>
          <a:prstGeom prst="rect">
            <a:avLst/>
          </a:prstGeom>
          <a:solidFill>
            <a:srgbClr val="BFE1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6">
            <a:extLst>
              <a:ext uri="{FF2B5EF4-FFF2-40B4-BE49-F238E27FC236}">
                <a16:creationId xmlns:a16="http://schemas.microsoft.com/office/drawing/2014/main" id="{77D17D8A-BBE1-C325-04F2-70454D85C6ED}"/>
              </a:ext>
            </a:extLst>
          </p:cNvPr>
          <p:cNvSpPr/>
          <p:nvPr/>
        </p:nvSpPr>
        <p:spPr>
          <a:xfrm>
            <a:off x="8878946" y="4416530"/>
            <a:ext cx="358223" cy="114688"/>
          </a:xfrm>
          <a:prstGeom prst="rect">
            <a:avLst/>
          </a:prstGeom>
          <a:solidFill>
            <a:srgbClr val="B4C7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7">
            <a:extLst>
              <a:ext uri="{FF2B5EF4-FFF2-40B4-BE49-F238E27FC236}">
                <a16:creationId xmlns:a16="http://schemas.microsoft.com/office/drawing/2014/main" id="{16A70B0C-8ECB-5FAA-895C-CB15440C1ED0}"/>
              </a:ext>
            </a:extLst>
          </p:cNvPr>
          <p:cNvSpPr/>
          <p:nvPr/>
        </p:nvSpPr>
        <p:spPr>
          <a:xfrm>
            <a:off x="8878946" y="4671020"/>
            <a:ext cx="358223" cy="114688"/>
          </a:xfrm>
          <a:prstGeom prst="rect">
            <a:avLst/>
          </a:prstGeom>
          <a:solidFill>
            <a:srgbClr val="8FAAD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16">
            <a:extLst>
              <a:ext uri="{FF2B5EF4-FFF2-40B4-BE49-F238E27FC236}">
                <a16:creationId xmlns:a16="http://schemas.microsoft.com/office/drawing/2014/main" id="{34E2FD67-4B70-8E8A-09FF-51AE9CC1A446}"/>
              </a:ext>
            </a:extLst>
          </p:cNvPr>
          <p:cNvSpPr/>
          <p:nvPr/>
        </p:nvSpPr>
        <p:spPr>
          <a:xfrm>
            <a:off x="8878946" y="2145370"/>
            <a:ext cx="358223" cy="1146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16">
            <a:extLst>
              <a:ext uri="{FF2B5EF4-FFF2-40B4-BE49-F238E27FC236}">
                <a16:creationId xmlns:a16="http://schemas.microsoft.com/office/drawing/2014/main" id="{C2A7CDB3-F4B2-F6F2-1170-7B3A79A11918}"/>
              </a:ext>
            </a:extLst>
          </p:cNvPr>
          <p:cNvSpPr/>
          <p:nvPr/>
        </p:nvSpPr>
        <p:spPr>
          <a:xfrm>
            <a:off x="8878946" y="4925510"/>
            <a:ext cx="358223" cy="11468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77C3A94-7125-F173-7C79-4EC297D5A6BD}"/>
              </a:ext>
            </a:extLst>
          </p:cNvPr>
          <p:cNvSpPr txBox="1"/>
          <p:nvPr/>
        </p:nvSpPr>
        <p:spPr>
          <a:xfrm>
            <a:off x="9237169" y="2561640"/>
            <a:ext cx="208058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azatomprom (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+4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1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2%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8A5B3A6-1C56-455E-30B8-3669D764D7DC}"/>
              </a:ext>
            </a:extLst>
          </p:cNvPr>
          <p:cNvSpPr txBox="1"/>
          <p:nvPr/>
        </p:nvSpPr>
        <p:spPr>
          <a:xfrm>
            <a:off x="9240534" y="281612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aspi.kz (-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2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9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32C821B-8F1D-E947-9331-ECD0FFD76024}"/>
              </a:ext>
            </a:extLst>
          </p:cNvPr>
          <p:cNvSpPr txBox="1"/>
          <p:nvPr/>
        </p:nvSpPr>
        <p:spPr>
          <a:xfrm>
            <a:off x="9240534" y="307061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Halyk Bank (+2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9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4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38BC700-684D-B01A-6331-95AD836B12A4}"/>
              </a:ext>
            </a:extLst>
          </p:cNvPr>
          <p:cNvSpPr txBox="1"/>
          <p:nvPr/>
        </p:nvSpPr>
        <p:spPr>
          <a:xfrm>
            <a:off x="9240534" y="332510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Solidcore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</a:t>
            </a: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+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59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4573380-D50C-5AEB-9E55-7B1FFA6D1F83}"/>
              </a:ext>
            </a:extLst>
          </p:cNvPr>
          <p:cNvSpPr txBox="1"/>
          <p:nvPr/>
        </p:nvSpPr>
        <p:spPr>
          <a:xfrm>
            <a:off x="9240534" y="357959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cel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-2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,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9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F1639DC-4660-D98B-0085-32F6084FE17B}"/>
              </a:ext>
            </a:extLst>
          </p:cNvPr>
          <p:cNvSpPr txBox="1"/>
          <p:nvPr/>
        </p:nvSpPr>
        <p:spPr>
          <a:xfrm>
            <a:off x="9240534" y="3834090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Bank Center Credit (+1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4%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B6BBBFC-0361-D059-114C-E0A76B093FE2}"/>
              </a:ext>
            </a:extLst>
          </p:cNvPr>
          <p:cNvSpPr txBox="1"/>
          <p:nvPr/>
        </p:nvSpPr>
        <p:spPr>
          <a:xfrm>
            <a:off x="9240534" y="408857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EGOC (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-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BA9D71-17E3-0ECA-4A47-2B0FF694DC11}"/>
              </a:ext>
            </a:extLst>
          </p:cNvPr>
          <p:cNvSpPr txBox="1"/>
          <p:nvPr/>
        </p:nvSpPr>
        <p:spPr>
          <a:xfrm>
            <a:off x="9240534" y="4343069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100" dirty="0" err="1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Kazakhtelecom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 (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-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0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%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176F05C-C92C-E44A-5CA9-41DC331AE4F7}"/>
              </a:ext>
            </a:extLst>
          </p:cNvPr>
          <p:cNvSpPr txBox="1"/>
          <p:nvPr/>
        </p:nvSpPr>
        <p:spPr>
          <a:xfrm>
            <a:off x="9240534" y="4597559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Air Astana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(-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0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6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780FE26-C49B-4579-E1E9-89F984B4AFEE}"/>
              </a:ext>
            </a:extLst>
          </p:cNvPr>
          <p:cNvSpPr txBox="1"/>
          <p:nvPr/>
        </p:nvSpPr>
        <p:spPr>
          <a:xfrm>
            <a:off x="9240534" y="4852049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azTransOi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+5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4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16">
            <a:extLst>
              <a:ext uri="{FF2B5EF4-FFF2-40B4-BE49-F238E27FC236}">
                <a16:creationId xmlns:a16="http://schemas.microsoft.com/office/drawing/2014/main" id="{6F888C62-7CD7-26B1-314D-9338166B74B0}"/>
              </a:ext>
            </a:extLst>
          </p:cNvPr>
          <p:cNvSpPr/>
          <p:nvPr/>
        </p:nvSpPr>
        <p:spPr>
          <a:xfrm>
            <a:off x="8878946" y="5179996"/>
            <a:ext cx="358223" cy="1146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E8B2799-71E9-C494-4543-7E8A969DF930}"/>
              </a:ext>
            </a:extLst>
          </p:cNvPr>
          <p:cNvSpPr txBox="1"/>
          <p:nvPr/>
        </p:nvSpPr>
        <p:spPr>
          <a:xfrm>
            <a:off x="9240534" y="5106535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Central Asia Metals (+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8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16">
            <a:extLst>
              <a:ext uri="{FF2B5EF4-FFF2-40B4-BE49-F238E27FC236}">
                <a16:creationId xmlns:a16="http://schemas.microsoft.com/office/drawing/2014/main" id="{600987F2-88C1-4F79-B0D9-54227F822E27}"/>
              </a:ext>
            </a:extLst>
          </p:cNvPr>
          <p:cNvSpPr/>
          <p:nvPr/>
        </p:nvSpPr>
        <p:spPr>
          <a:xfrm>
            <a:off x="8878946" y="2390235"/>
            <a:ext cx="358223" cy="114688"/>
          </a:xfrm>
          <a:prstGeom prst="rect">
            <a:avLst/>
          </a:prstGeom>
          <a:solidFill>
            <a:srgbClr val="0024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86F426C-3259-AC08-035A-23C66E1CE43E}"/>
              </a:ext>
            </a:extLst>
          </p:cNvPr>
          <p:cNvSpPr txBox="1"/>
          <p:nvPr/>
        </p:nvSpPr>
        <p:spPr>
          <a:xfrm>
            <a:off x="9237169" y="2307150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azMunayGa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+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50</a:t>
            </a: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</p:spTree>
    <p:extLst>
      <p:ext uri="{BB962C8B-B14F-4D97-AF65-F5344CB8AC3E}">
        <p14:creationId xmlns:p14="http://schemas.microsoft.com/office/powerpoint/2010/main" val="126159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F8467-DF28-9F8E-35DD-67D137F0E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9C5FC9F-D6C9-AA20-87BE-889363D947CC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ОБЩИЙ ОБЗОР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91925A-34D7-E163-369E-DE4B529D8B52}"/>
              </a:ext>
            </a:extLst>
          </p:cNvPr>
          <p:cNvSpPr txBox="1"/>
          <p:nvPr/>
        </p:nvSpPr>
        <p:spPr>
          <a:xfrm>
            <a:off x="1115790" y="2395657"/>
            <a:ext cx="1737699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3,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6 млрд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торгов в 3-м кв.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5 г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E6DF63-78A9-34A0-8492-44236B1F9A59}"/>
              </a:ext>
            </a:extLst>
          </p:cNvPr>
          <p:cNvSpPr txBox="1"/>
          <p:nvPr/>
        </p:nvSpPr>
        <p:spPr>
          <a:xfrm>
            <a:off x="1115791" y="3368856"/>
            <a:ext cx="15620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92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млн</a:t>
            </a:r>
            <a:endParaRPr lang="en-US" sz="1600" b="1" dirty="0">
              <a:solidFill>
                <a:srgbClr val="008EAA"/>
              </a:solidFill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ъём торгов в 3-м кв.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5 г.</a:t>
            </a:r>
            <a:endParaRPr lang="en-US" sz="11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C65A31B-8978-87B3-D627-EB97298F8977}"/>
              </a:ext>
            </a:extLst>
          </p:cNvPr>
          <p:cNvSpPr/>
          <p:nvPr/>
        </p:nvSpPr>
        <p:spPr>
          <a:xfrm>
            <a:off x="884761" y="1896288"/>
            <a:ext cx="5100496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160E79C-05F3-2117-5B57-489C4057103C}"/>
              </a:ext>
            </a:extLst>
          </p:cNvPr>
          <p:cNvSpPr txBox="1"/>
          <p:nvPr/>
        </p:nvSpPr>
        <p:spPr>
          <a:xfrm>
            <a:off x="1115790" y="1749807"/>
            <a:ext cx="326924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ТОРГОВ 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D317DC-3198-910C-FB39-B93825C6D85C}"/>
              </a:ext>
            </a:extLst>
          </p:cNvPr>
          <p:cNvSpPr txBox="1"/>
          <p:nvPr/>
        </p:nvSpPr>
        <p:spPr>
          <a:xfrm>
            <a:off x="904740" y="5492494"/>
            <a:ext cx="4938158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200" dirty="0">
                <a:latin typeface="Montserrat"/>
                <a:cs typeface="Mongolian Baiti"/>
              </a:rPr>
              <a:t>Совокупный объем торгов - это сумма всех акций, торгуемых на фондовой бирже. Как правило, высокий объем торгов указывает на высокую ликвидность рынка, что облегчает покупку или продажу акций.</a:t>
            </a:r>
            <a:endParaRPr lang="en-US" sz="1100" dirty="0">
              <a:latin typeface="Montserrat"/>
              <a:cs typeface="Mongolian Bait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7D5E6D4-BFD4-AF58-0351-F6F523258D8D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 dirty="0">
                <a:latin typeface="Montserrat"/>
                <a:cs typeface="Mongolian Baiti"/>
              </a:rPr>
              <a:t>С начала года биржа продемонстрировала значительный рост объема торгов, достигнув рекордного оборота в $</a:t>
            </a:r>
            <a:r>
              <a:rPr lang="en-US" sz="1200" dirty="0">
                <a:latin typeface="Montserrat"/>
                <a:cs typeface="Mongolian Baiti"/>
              </a:rPr>
              <a:t>1,1</a:t>
            </a:r>
            <a:r>
              <a:rPr lang="ru-RU" sz="1200" dirty="0">
                <a:latin typeface="Montserrat"/>
                <a:cs typeface="Mongolian Baiti"/>
              </a:rPr>
              <a:t> млрд с начала года. В целом, с момента запуска AIX совокупный объем торгов составил около $</a:t>
            </a:r>
            <a:r>
              <a:rPr lang="en-US" sz="1200" dirty="0">
                <a:latin typeface="Montserrat"/>
                <a:cs typeface="Mongolian Baiti"/>
              </a:rPr>
              <a:t>3</a:t>
            </a:r>
            <a:r>
              <a:rPr lang="ru-RU" sz="1200" dirty="0">
                <a:latin typeface="Montserrat"/>
                <a:cs typeface="Mongolian Baiti"/>
              </a:rPr>
              <a:t>,6 млрд. Рыночная капитализация компании незначительно выросла и составила </a:t>
            </a:r>
            <a:r>
              <a:rPr lang="en-US" sz="1200" dirty="0">
                <a:latin typeface="Montserrat"/>
                <a:cs typeface="Mongolian Baiti"/>
              </a:rPr>
              <a:t>$</a:t>
            </a:r>
            <a:r>
              <a:rPr lang="ru-RU" sz="1200" dirty="0">
                <a:latin typeface="Montserrat"/>
                <a:cs typeface="Mongolian Baiti"/>
              </a:rPr>
              <a:t>89 миллиарда.</a:t>
            </a:r>
            <a:endParaRPr lang="en-US" sz="1200" dirty="0">
              <a:latin typeface="Montserrat"/>
              <a:cs typeface="Mongolian Baiti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7B2A1F5-887A-B13F-E658-C7942DBEF935}"/>
              </a:ext>
            </a:extLst>
          </p:cNvPr>
          <p:cNvSpPr txBox="1"/>
          <p:nvPr/>
        </p:nvSpPr>
        <p:spPr>
          <a:xfrm>
            <a:off x="6659010" y="5492494"/>
            <a:ext cx="4938158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200" dirty="0">
                <a:latin typeface="Montserrat"/>
                <a:cs typeface="Mongolian Baiti"/>
              </a:rPr>
              <a:t>Рыночная капитализация отражает общую стоимость и масштаб рынка акций, представленного биржей.</a:t>
            </a:r>
            <a:endParaRPr lang="en-US" dirty="0">
              <a:latin typeface="Montserrat"/>
              <a:cs typeface="Mongolian Baiti"/>
            </a:endParaRPr>
          </a:p>
        </p:txBody>
      </p:sp>
      <p:graphicFrame>
        <p:nvGraphicFramePr>
          <p:cNvPr id="38" name="Chart 1">
            <a:extLst>
              <a:ext uri="{FF2B5EF4-FFF2-40B4-BE49-F238E27FC236}">
                <a16:creationId xmlns:a16="http://schemas.microsoft.com/office/drawing/2014/main" id="{9C289F29-6A98-7F8A-1432-770AD898D3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8709115"/>
              </p:ext>
            </p:extLst>
          </p:nvPr>
        </p:nvGraphicFramePr>
        <p:xfrm>
          <a:off x="1804620" y="2057584"/>
          <a:ext cx="4228416" cy="3169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extBox 72">
            <a:extLst>
              <a:ext uri="{FF2B5EF4-FFF2-40B4-BE49-F238E27FC236}">
                <a16:creationId xmlns:a16="http://schemas.microsoft.com/office/drawing/2014/main" id="{642986F5-FB80-EAD1-6C50-9AA008008389}"/>
              </a:ext>
            </a:extLst>
          </p:cNvPr>
          <p:cNvSpPr txBox="1"/>
          <p:nvPr/>
        </p:nvSpPr>
        <p:spPr>
          <a:xfrm>
            <a:off x="1860528" y="4552411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9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0" name="TextBox 73">
            <a:extLst>
              <a:ext uri="{FF2B5EF4-FFF2-40B4-BE49-F238E27FC236}">
                <a16:creationId xmlns:a16="http://schemas.microsoft.com/office/drawing/2014/main" id="{85423BF8-00FF-5BBC-A765-6AB3DE8210B3}"/>
              </a:ext>
            </a:extLst>
          </p:cNvPr>
          <p:cNvSpPr txBox="1"/>
          <p:nvPr/>
        </p:nvSpPr>
        <p:spPr>
          <a:xfrm>
            <a:off x="2356600" y="4453704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49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1" name="TextBox 74">
            <a:extLst>
              <a:ext uri="{FF2B5EF4-FFF2-40B4-BE49-F238E27FC236}">
                <a16:creationId xmlns:a16="http://schemas.microsoft.com/office/drawing/2014/main" id="{6A55B07A-FD52-D95F-8EBE-D8AD06B25989}"/>
              </a:ext>
            </a:extLst>
          </p:cNvPr>
          <p:cNvSpPr txBox="1"/>
          <p:nvPr/>
        </p:nvSpPr>
        <p:spPr>
          <a:xfrm>
            <a:off x="2836926" y="4334984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59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2" name="TextBox 75">
            <a:extLst>
              <a:ext uri="{FF2B5EF4-FFF2-40B4-BE49-F238E27FC236}">
                <a16:creationId xmlns:a16="http://schemas.microsoft.com/office/drawing/2014/main" id="{C7381921-FF8B-4ED6-9B26-AF4DFDDEE60D}"/>
              </a:ext>
            </a:extLst>
          </p:cNvPr>
          <p:cNvSpPr txBox="1"/>
          <p:nvPr/>
        </p:nvSpPr>
        <p:spPr>
          <a:xfrm>
            <a:off x="3347084" y="3914120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11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4" name="TextBox 76">
            <a:extLst>
              <a:ext uri="{FF2B5EF4-FFF2-40B4-BE49-F238E27FC236}">
                <a16:creationId xmlns:a16="http://schemas.microsoft.com/office/drawing/2014/main" id="{CD3198DE-58B0-E5E0-18E7-F81C8715A1EA}"/>
              </a:ext>
            </a:extLst>
          </p:cNvPr>
          <p:cNvSpPr txBox="1"/>
          <p:nvPr/>
        </p:nvSpPr>
        <p:spPr>
          <a:xfrm>
            <a:off x="3816175" y="4173970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73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5" name="TextBox 77">
            <a:extLst>
              <a:ext uri="{FF2B5EF4-FFF2-40B4-BE49-F238E27FC236}">
                <a16:creationId xmlns:a16="http://schemas.microsoft.com/office/drawing/2014/main" id="{A3D56409-1C32-50F1-5F05-2A4028C0C1EA}"/>
              </a:ext>
            </a:extLst>
          </p:cNvPr>
          <p:cNvSpPr txBox="1"/>
          <p:nvPr/>
        </p:nvSpPr>
        <p:spPr>
          <a:xfrm>
            <a:off x="4286169" y="3397419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582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6" name="TextBox 78">
            <a:extLst>
              <a:ext uri="{FF2B5EF4-FFF2-40B4-BE49-F238E27FC236}">
                <a16:creationId xmlns:a16="http://schemas.microsoft.com/office/drawing/2014/main" id="{7AC14A28-5CED-BE45-8F72-F57B645269FB}"/>
              </a:ext>
            </a:extLst>
          </p:cNvPr>
          <p:cNvSpPr txBox="1"/>
          <p:nvPr/>
        </p:nvSpPr>
        <p:spPr>
          <a:xfrm>
            <a:off x="4773879" y="2048085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1</a:t>
            </a:r>
            <a:r>
              <a:rPr lang="ru-RU" sz="1050">
                <a:latin typeface="Montserrat" panose="00000500000000000000" pitchFamily="2" charset="-52"/>
              </a:rPr>
              <a:t>,</a:t>
            </a:r>
            <a:r>
              <a:rPr lang="en-US" sz="1050">
                <a:latin typeface="Montserrat" panose="00000500000000000000" pitchFamily="2" charset="-52"/>
              </a:rPr>
              <a:t>3</a:t>
            </a:r>
            <a:r>
              <a:rPr lang="ru-RU" sz="1050">
                <a:latin typeface="Montserrat" panose="00000500000000000000" pitchFamily="2" charset="-52"/>
              </a:rPr>
              <a:t> млрд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7" name="TextBox 79">
            <a:extLst>
              <a:ext uri="{FF2B5EF4-FFF2-40B4-BE49-F238E27FC236}">
                <a16:creationId xmlns:a16="http://schemas.microsoft.com/office/drawing/2014/main" id="{58021AA8-2A22-5176-4382-449DD219FC5A}"/>
              </a:ext>
            </a:extLst>
          </p:cNvPr>
          <p:cNvSpPr txBox="1"/>
          <p:nvPr/>
        </p:nvSpPr>
        <p:spPr>
          <a:xfrm>
            <a:off x="5218439" y="2442511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</a:t>
            </a:r>
            <a:r>
              <a:rPr lang="ru-RU" sz="1050">
                <a:latin typeface="Montserrat" panose="00000500000000000000" pitchFamily="2" charset="-52"/>
              </a:rPr>
              <a:t>1,1 млрд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02" name="Rectangle 7">
            <a:extLst>
              <a:ext uri="{FF2B5EF4-FFF2-40B4-BE49-F238E27FC236}">
                <a16:creationId xmlns:a16="http://schemas.microsoft.com/office/drawing/2014/main" id="{DB39DD21-13C5-474E-EFF0-530571E0720F}"/>
              </a:ext>
            </a:extLst>
          </p:cNvPr>
          <p:cNvSpPr/>
          <p:nvPr/>
        </p:nvSpPr>
        <p:spPr>
          <a:xfrm>
            <a:off x="6282386" y="1896288"/>
            <a:ext cx="5493301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3" name="TextBox 8">
            <a:extLst>
              <a:ext uri="{FF2B5EF4-FFF2-40B4-BE49-F238E27FC236}">
                <a16:creationId xmlns:a16="http://schemas.microsoft.com/office/drawing/2014/main" id="{4718C70D-4C79-E826-9093-312DD6FB5CAC}"/>
              </a:ext>
            </a:extLst>
          </p:cNvPr>
          <p:cNvSpPr txBox="1"/>
          <p:nvPr/>
        </p:nvSpPr>
        <p:spPr>
          <a:xfrm>
            <a:off x="6508829" y="1751766"/>
            <a:ext cx="325046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РЫНОЧНАЯ КАПИТАЛИЗАЦИЯ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04" name="TextBox 45">
            <a:extLst>
              <a:ext uri="{FF2B5EF4-FFF2-40B4-BE49-F238E27FC236}">
                <a16:creationId xmlns:a16="http://schemas.microsoft.com/office/drawing/2014/main" id="{CCC16BF1-DD00-29F3-EE33-76383D551C50}"/>
              </a:ext>
            </a:extLst>
          </p:cNvPr>
          <p:cNvSpPr txBox="1"/>
          <p:nvPr/>
        </p:nvSpPr>
        <p:spPr>
          <a:xfrm>
            <a:off x="6508079" y="2408782"/>
            <a:ext cx="15026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2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$</a:t>
            </a:r>
            <a:r>
              <a:rPr lang="en-US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8</a:t>
            </a:r>
            <a:r>
              <a:rPr lang="ru-RU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9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B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</a:br>
            <a:r>
              <a:rPr kumimoji="0" lang="ru-RU" sz="1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Рыночная Капитализация</a:t>
            </a:r>
            <a:endParaRPr lang="en-US" sz="14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105" name="Group 14">
            <a:extLst>
              <a:ext uri="{FF2B5EF4-FFF2-40B4-BE49-F238E27FC236}">
                <a16:creationId xmlns:a16="http://schemas.microsoft.com/office/drawing/2014/main" id="{2393D6F5-B813-2787-3F8C-9BADB8A7794C}"/>
              </a:ext>
            </a:extLst>
          </p:cNvPr>
          <p:cNvGrpSpPr/>
          <p:nvPr/>
        </p:nvGrpSpPr>
        <p:grpSpPr>
          <a:xfrm rot="202990">
            <a:off x="8742730" y="2402170"/>
            <a:ext cx="41223" cy="274163"/>
            <a:chOff x="8975611" y="2338405"/>
            <a:chExt cx="41223" cy="274163"/>
          </a:xfrm>
        </p:grpSpPr>
        <p:sp>
          <p:nvSpPr>
            <p:cNvPr id="146" name="Rectangle 15">
              <a:extLst>
                <a:ext uri="{FF2B5EF4-FFF2-40B4-BE49-F238E27FC236}">
                  <a16:creationId xmlns:a16="http://schemas.microsoft.com/office/drawing/2014/main" id="{62BA3CD3-FF45-1DE8-5BCE-FFEB9FEC5B32}"/>
                </a:ext>
              </a:extLst>
            </p:cNvPr>
            <p:cNvSpPr/>
            <p:nvPr/>
          </p:nvSpPr>
          <p:spPr>
            <a:xfrm rot="19800000">
              <a:off x="8975611" y="2338405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7" name="Rectangle 16">
              <a:extLst>
                <a:ext uri="{FF2B5EF4-FFF2-40B4-BE49-F238E27FC236}">
                  <a16:creationId xmlns:a16="http://schemas.microsoft.com/office/drawing/2014/main" id="{323D259C-2575-F198-D369-034FCCAC507C}"/>
                </a:ext>
              </a:extLst>
            </p:cNvPr>
            <p:cNvSpPr/>
            <p:nvPr/>
          </p:nvSpPr>
          <p:spPr>
            <a:xfrm rot="19800000">
              <a:off x="9006034" y="2339340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106" name="Group 17">
            <a:extLst>
              <a:ext uri="{FF2B5EF4-FFF2-40B4-BE49-F238E27FC236}">
                <a16:creationId xmlns:a16="http://schemas.microsoft.com/office/drawing/2014/main" id="{B43D2752-F61D-4B25-734C-09D98631A424}"/>
              </a:ext>
            </a:extLst>
          </p:cNvPr>
          <p:cNvGrpSpPr/>
          <p:nvPr/>
        </p:nvGrpSpPr>
        <p:grpSpPr>
          <a:xfrm rot="202990">
            <a:off x="8742730" y="2838030"/>
            <a:ext cx="41224" cy="170585"/>
            <a:chOff x="9128010" y="2491904"/>
            <a:chExt cx="41224" cy="274727"/>
          </a:xfrm>
        </p:grpSpPr>
        <p:sp>
          <p:nvSpPr>
            <p:cNvPr id="144" name="Rectangle 18">
              <a:extLst>
                <a:ext uri="{FF2B5EF4-FFF2-40B4-BE49-F238E27FC236}">
                  <a16:creationId xmlns:a16="http://schemas.microsoft.com/office/drawing/2014/main" id="{44E76698-6844-75E1-716E-D005CEB49EA6}"/>
                </a:ext>
              </a:extLst>
            </p:cNvPr>
            <p:cNvSpPr/>
            <p:nvPr/>
          </p:nvSpPr>
          <p:spPr>
            <a:xfrm rot="19800000">
              <a:off x="9128010" y="2491904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5" name="Rectangle 19">
              <a:extLst>
                <a:ext uri="{FF2B5EF4-FFF2-40B4-BE49-F238E27FC236}">
                  <a16:creationId xmlns:a16="http://schemas.microsoft.com/office/drawing/2014/main" id="{00831CBC-EC24-9DF9-4981-AD187F8B0069}"/>
                </a:ext>
              </a:extLst>
            </p:cNvPr>
            <p:cNvSpPr/>
            <p:nvPr/>
          </p:nvSpPr>
          <p:spPr>
            <a:xfrm rot="19800000">
              <a:off x="9158434" y="2493403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107" name="Group 20">
            <a:extLst>
              <a:ext uri="{FF2B5EF4-FFF2-40B4-BE49-F238E27FC236}">
                <a16:creationId xmlns:a16="http://schemas.microsoft.com/office/drawing/2014/main" id="{8F2565B1-ECE6-F127-1A66-96576D6FD091}"/>
              </a:ext>
            </a:extLst>
          </p:cNvPr>
          <p:cNvGrpSpPr/>
          <p:nvPr/>
        </p:nvGrpSpPr>
        <p:grpSpPr>
          <a:xfrm rot="202990">
            <a:off x="8742729" y="3170289"/>
            <a:ext cx="41225" cy="274164"/>
            <a:chOff x="9128010" y="2490804"/>
            <a:chExt cx="41225" cy="274164"/>
          </a:xfrm>
        </p:grpSpPr>
        <p:sp>
          <p:nvSpPr>
            <p:cNvPr id="142" name="Rectangle 22">
              <a:extLst>
                <a:ext uri="{FF2B5EF4-FFF2-40B4-BE49-F238E27FC236}">
                  <a16:creationId xmlns:a16="http://schemas.microsoft.com/office/drawing/2014/main" id="{D6572C72-A001-6861-3D38-B57802630488}"/>
                </a:ext>
              </a:extLst>
            </p:cNvPr>
            <p:cNvSpPr/>
            <p:nvPr/>
          </p:nvSpPr>
          <p:spPr>
            <a:xfrm rot="19800000">
              <a:off x="9128010" y="2490804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3" name="Rectangle 23">
              <a:extLst>
                <a:ext uri="{FF2B5EF4-FFF2-40B4-BE49-F238E27FC236}">
                  <a16:creationId xmlns:a16="http://schemas.microsoft.com/office/drawing/2014/main" id="{861C273D-F59D-34A3-9992-3BFDD341ADFF}"/>
                </a:ext>
              </a:extLst>
            </p:cNvPr>
            <p:cNvSpPr/>
            <p:nvPr/>
          </p:nvSpPr>
          <p:spPr>
            <a:xfrm rot="19800000">
              <a:off x="9158435" y="2491740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aphicFrame>
        <p:nvGraphicFramePr>
          <p:cNvPr id="108" name="Chart 24">
            <a:extLst>
              <a:ext uri="{FF2B5EF4-FFF2-40B4-BE49-F238E27FC236}">
                <a16:creationId xmlns:a16="http://schemas.microsoft.com/office/drawing/2014/main" id="{6B5DD93E-563D-7215-4E18-B285AA8250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5922141"/>
              </p:ext>
            </p:extLst>
          </p:nvPr>
        </p:nvGraphicFramePr>
        <p:xfrm>
          <a:off x="7374018" y="2275995"/>
          <a:ext cx="4097077" cy="2991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09" name="Group 14">
            <a:extLst>
              <a:ext uri="{FF2B5EF4-FFF2-40B4-BE49-F238E27FC236}">
                <a16:creationId xmlns:a16="http://schemas.microsoft.com/office/drawing/2014/main" id="{C3B9A518-6BC4-431A-279C-601EF1FADA21}"/>
              </a:ext>
            </a:extLst>
          </p:cNvPr>
          <p:cNvGrpSpPr/>
          <p:nvPr/>
        </p:nvGrpSpPr>
        <p:grpSpPr>
          <a:xfrm rot="202990">
            <a:off x="8754271" y="2402170"/>
            <a:ext cx="41223" cy="274163"/>
            <a:chOff x="8975611" y="2338405"/>
            <a:chExt cx="41223" cy="274163"/>
          </a:xfrm>
        </p:grpSpPr>
        <p:sp>
          <p:nvSpPr>
            <p:cNvPr id="140" name="Rectangle 15">
              <a:extLst>
                <a:ext uri="{FF2B5EF4-FFF2-40B4-BE49-F238E27FC236}">
                  <a16:creationId xmlns:a16="http://schemas.microsoft.com/office/drawing/2014/main" id="{19E58664-A8BB-7A15-40AC-0019D651C798}"/>
                </a:ext>
              </a:extLst>
            </p:cNvPr>
            <p:cNvSpPr/>
            <p:nvPr/>
          </p:nvSpPr>
          <p:spPr>
            <a:xfrm rot="19800000">
              <a:off x="8975611" y="2338405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1" name="Rectangle 16">
              <a:extLst>
                <a:ext uri="{FF2B5EF4-FFF2-40B4-BE49-F238E27FC236}">
                  <a16:creationId xmlns:a16="http://schemas.microsoft.com/office/drawing/2014/main" id="{55DC0CB3-BACB-DE1F-7540-E64669A0110C}"/>
                </a:ext>
              </a:extLst>
            </p:cNvPr>
            <p:cNvSpPr/>
            <p:nvPr/>
          </p:nvSpPr>
          <p:spPr>
            <a:xfrm rot="19800000">
              <a:off x="9006034" y="2339340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110" name="Group 17">
            <a:extLst>
              <a:ext uri="{FF2B5EF4-FFF2-40B4-BE49-F238E27FC236}">
                <a16:creationId xmlns:a16="http://schemas.microsoft.com/office/drawing/2014/main" id="{4C18AC5A-3428-FDDB-7CDB-7205CEBB52EE}"/>
              </a:ext>
            </a:extLst>
          </p:cNvPr>
          <p:cNvGrpSpPr/>
          <p:nvPr/>
        </p:nvGrpSpPr>
        <p:grpSpPr>
          <a:xfrm rot="202990">
            <a:off x="8754271" y="2838030"/>
            <a:ext cx="41224" cy="170585"/>
            <a:chOff x="9128010" y="2491904"/>
            <a:chExt cx="41224" cy="274727"/>
          </a:xfrm>
        </p:grpSpPr>
        <p:sp>
          <p:nvSpPr>
            <p:cNvPr id="138" name="Rectangle 18">
              <a:extLst>
                <a:ext uri="{FF2B5EF4-FFF2-40B4-BE49-F238E27FC236}">
                  <a16:creationId xmlns:a16="http://schemas.microsoft.com/office/drawing/2014/main" id="{0B7B73B5-42BC-56C1-E4F1-E8A76A7A5415}"/>
                </a:ext>
              </a:extLst>
            </p:cNvPr>
            <p:cNvSpPr/>
            <p:nvPr/>
          </p:nvSpPr>
          <p:spPr>
            <a:xfrm rot="19800000">
              <a:off x="9128010" y="2491904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39" name="Rectangle 19">
              <a:extLst>
                <a:ext uri="{FF2B5EF4-FFF2-40B4-BE49-F238E27FC236}">
                  <a16:creationId xmlns:a16="http://schemas.microsoft.com/office/drawing/2014/main" id="{BF3818BC-143F-D96C-61E5-92886C96F30C}"/>
                </a:ext>
              </a:extLst>
            </p:cNvPr>
            <p:cNvSpPr/>
            <p:nvPr/>
          </p:nvSpPr>
          <p:spPr>
            <a:xfrm rot="19800000">
              <a:off x="9158434" y="2493403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111" name="Group 20">
            <a:extLst>
              <a:ext uri="{FF2B5EF4-FFF2-40B4-BE49-F238E27FC236}">
                <a16:creationId xmlns:a16="http://schemas.microsoft.com/office/drawing/2014/main" id="{4D575E96-B70F-9CE4-14F1-110E0656D144}"/>
              </a:ext>
            </a:extLst>
          </p:cNvPr>
          <p:cNvGrpSpPr/>
          <p:nvPr/>
        </p:nvGrpSpPr>
        <p:grpSpPr>
          <a:xfrm rot="202990">
            <a:off x="8754270" y="3170289"/>
            <a:ext cx="41225" cy="274164"/>
            <a:chOff x="9128010" y="2490804"/>
            <a:chExt cx="41225" cy="274164"/>
          </a:xfrm>
        </p:grpSpPr>
        <p:sp>
          <p:nvSpPr>
            <p:cNvPr id="136" name="Rectangle 22">
              <a:extLst>
                <a:ext uri="{FF2B5EF4-FFF2-40B4-BE49-F238E27FC236}">
                  <a16:creationId xmlns:a16="http://schemas.microsoft.com/office/drawing/2014/main" id="{E6C0FFE2-07B2-5B6F-1DD5-DDB943B1A76C}"/>
                </a:ext>
              </a:extLst>
            </p:cNvPr>
            <p:cNvSpPr/>
            <p:nvPr/>
          </p:nvSpPr>
          <p:spPr>
            <a:xfrm rot="19800000">
              <a:off x="9128010" y="2490804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37" name="Rectangle 23">
              <a:extLst>
                <a:ext uri="{FF2B5EF4-FFF2-40B4-BE49-F238E27FC236}">
                  <a16:creationId xmlns:a16="http://schemas.microsoft.com/office/drawing/2014/main" id="{BCD57E0B-1275-E779-EA0D-4EC5A1726AF2}"/>
                </a:ext>
              </a:extLst>
            </p:cNvPr>
            <p:cNvSpPr/>
            <p:nvPr/>
          </p:nvSpPr>
          <p:spPr>
            <a:xfrm rot="19800000">
              <a:off x="9158435" y="2491740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112" name="TextBox 28">
            <a:extLst>
              <a:ext uri="{FF2B5EF4-FFF2-40B4-BE49-F238E27FC236}">
                <a16:creationId xmlns:a16="http://schemas.microsoft.com/office/drawing/2014/main" id="{653FC0E4-EC65-8CAE-496D-F055D8A395F6}"/>
              </a:ext>
            </a:extLst>
          </p:cNvPr>
          <p:cNvSpPr txBox="1"/>
          <p:nvPr/>
        </p:nvSpPr>
        <p:spPr>
          <a:xfrm>
            <a:off x="7750787" y="4056118"/>
            <a:ext cx="588378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4,</a:t>
            </a:r>
            <a:r>
              <a:rPr lang="en-US" sz="900" dirty="0">
                <a:latin typeface="Montserrat" panose="00000500000000000000" pitchFamily="2" charset="-52"/>
              </a:rPr>
              <a:t>.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9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3" name="TextBox 29">
            <a:extLst>
              <a:ext uri="{FF2B5EF4-FFF2-40B4-BE49-F238E27FC236}">
                <a16:creationId xmlns:a16="http://schemas.microsoft.com/office/drawing/2014/main" id="{A2512E1C-5A7A-86B4-AAB9-52FDD770F94F}"/>
              </a:ext>
            </a:extLst>
          </p:cNvPr>
          <p:cNvSpPr txBox="1"/>
          <p:nvPr/>
        </p:nvSpPr>
        <p:spPr>
          <a:xfrm>
            <a:off x="8128397" y="3569292"/>
            <a:ext cx="630991" cy="369332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/>
              </a:rPr>
              <a:t>$</a:t>
            </a:r>
            <a:r>
              <a:rPr lang="en-US" sz="900" dirty="0">
                <a:latin typeface="Montserrat"/>
              </a:rPr>
              <a:t>33,6</a:t>
            </a:r>
            <a:r>
              <a:rPr lang="ru-RU" sz="900" dirty="0">
                <a:latin typeface="Montserrat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4" name="TextBox 30">
            <a:extLst>
              <a:ext uri="{FF2B5EF4-FFF2-40B4-BE49-F238E27FC236}">
                <a16:creationId xmlns:a16="http://schemas.microsoft.com/office/drawing/2014/main" id="{064F4A2B-2325-1E37-AE44-FE882AE9034E}"/>
              </a:ext>
            </a:extLst>
          </p:cNvPr>
          <p:cNvSpPr txBox="1"/>
          <p:nvPr/>
        </p:nvSpPr>
        <p:spPr>
          <a:xfrm>
            <a:off x="9989523" y="2692861"/>
            <a:ext cx="544005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62</a:t>
            </a:r>
            <a:r>
              <a:rPr lang="en-US" sz="900" dirty="0">
                <a:latin typeface="Montserrat" panose="00000500000000000000" pitchFamily="2" charset="-52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6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5" name="TextBox 31">
            <a:extLst>
              <a:ext uri="{FF2B5EF4-FFF2-40B4-BE49-F238E27FC236}">
                <a16:creationId xmlns:a16="http://schemas.microsoft.com/office/drawing/2014/main" id="{BC79DD0B-2AB0-0FBA-54D7-8D113D95239C}"/>
              </a:ext>
            </a:extLst>
          </p:cNvPr>
          <p:cNvSpPr txBox="1"/>
          <p:nvPr/>
        </p:nvSpPr>
        <p:spPr>
          <a:xfrm>
            <a:off x="9137724" y="3487446"/>
            <a:ext cx="502250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40</a:t>
            </a:r>
            <a:r>
              <a:rPr lang="en-US" sz="900" dirty="0">
                <a:latin typeface="Montserrat" panose="00000500000000000000" pitchFamily="2" charset="-52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6" name="TextBox 34">
            <a:extLst>
              <a:ext uri="{FF2B5EF4-FFF2-40B4-BE49-F238E27FC236}">
                <a16:creationId xmlns:a16="http://schemas.microsoft.com/office/drawing/2014/main" id="{7D023E70-35C9-30A7-88B4-CE7189FEF20C}"/>
              </a:ext>
            </a:extLst>
          </p:cNvPr>
          <p:cNvSpPr txBox="1"/>
          <p:nvPr/>
        </p:nvSpPr>
        <p:spPr>
          <a:xfrm>
            <a:off x="9459729" y="3331104"/>
            <a:ext cx="591620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8,3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7" name="TextBox 35">
            <a:extLst>
              <a:ext uri="{FF2B5EF4-FFF2-40B4-BE49-F238E27FC236}">
                <a16:creationId xmlns:a16="http://schemas.microsoft.com/office/drawing/2014/main" id="{C4E4EF16-820E-E9B6-4023-38DE3F8E2521}"/>
              </a:ext>
            </a:extLst>
          </p:cNvPr>
          <p:cNvSpPr txBox="1"/>
          <p:nvPr/>
        </p:nvSpPr>
        <p:spPr>
          <a:xfrm>
            <a:off x="7085684" y="4435721"/>
            <a:ext cx="550016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,4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118" name="Прямая соединительная линия 117">
            <a:extLst>
              <a:ext uri="{FF2B5EF4-FFF2-40B4-BE49-F238E27FC236}">
                <a16:creationId xmlns:a16="http://schemas.microsoft.com/office/drawing/2014/main" id="{865606C0-7FFD-A07E-3C1E-69FC3D8AB7A7}"/>
              </a:ext>
            </a:extLst>
          </p:cNvPr>
          <p:cNvCxnSpPr>
            <a:cxnSpLocks/>
          </p:cNvCxnSpPr>
          <p:nvPr/>
        </p:nvCxnSpPr>
        <p:spPr>
          <a:xfrm flipV="1">
            <a:off x="10321915" y="3170419"/>
            <a:ext cx="0" cy="168954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C8F1162B-02E1-00FF-EC87-5BBCA0D82FA6}"/>
              </a:ext>
            </a:extLst>
          </p:cNvPr>
          <p:cNvCxnSpPr>
            <a:cxnSpLocks/>
          </p:cNvCxnSpPr>
          <p:nvPr/>
        </p:nvCxnSpPr>
        <p:spPr>
          <a:xfrm flipV="1">
            <a:off x="8012489" y="4508500"/>
            <a:ext cx="0" cy="36536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id="{8C1C8B1B-6EE5-0027-1931-160FEE86C08B}"/>
              </a:ext>
            </a:extLst>
          </p:cNvPr>
          <p:cNvCxnSpPr>
            <a:cxnSpLocks/>
          </p:cNvCxnSpPr>
          <p:nvPr/>
        </p:nvCxnSpPr>
        <p:spPr>
          <a:xfrm flipV="1">
            <a:off x="8547946" y="4022799"/>
            <a:ext cx="0" cy="85781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>
            <a:extLst>
              <a:ext uri="{FF2B5EF4-FFF2-40B4-BE49-F238E27FC236}">
                <a16:creationId xmlns:a16="http://schemas.microsoft.com/office/drawing/2014/main" id="{91A9A2CE-322E-A0B1-DF6A-4A9CC1A7C0B8}"/>
              </a:ext>
            </a:extLst>
          </p:cNvPr>
          <p:cNvCxnSpPr>
            <a:cxnSpLocks/>
          </p:cNvCxnSpPr>
          <p:nvPr/>
        </p:nvCxnSpPr>
        <p:spPr>
          <a:xfrm flipV="1">
            <a:off x="9090099" y="3710976"/>
            <a:ext cx="0" cy="114773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CBD33971-D8F7-FE16-0EB6-2F0CE0615C70}"/>
              </a:ext>
            </a:extLst>
          </p:cNvPr>
          <p:cNvCxnSpPr>
            <a:cxnSpLocks/>
          </p:cNvCxnSpPr>
          <p:nvPr/>
        </p:nvCxnSpPr>
        <p:spPr>
          <a:xfrm flipV="1">
            <a:off x="7457155" y="4793456"/>
            <a:ext cx="0" cy="750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id="{1EE62AD8-17A6-5722-B36C-698D232DB3F8}"/>
              </a:ext>
            </a:extLst>
          </p:cNvPr>
          <p:cNvCxnSpPr>
            <a:cxnSpLocks/>
          </p:cNvCxnSpPr>
          <p:nvPr/>
        </p:nvCxnSpPr>
        <p:spPr>
          <a:xfrm flipV="1">
            <a:off x="9759297" y="3809181"/>
            <a:ext cx="0" cy="105606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A05DAA0D-08FC-0714-F83F-1F5E2A48F578}"/>
              </a:ext>
            </a:extLst>
          </p:cNvPr>
          <p:cNvCxnSpPr>
            <a:cxnSpLocks/>
          </p:cNvCxnSpPr>
          <p:nvPr/>
        </p:nvCxnSpPr>
        <p:spPr>
          <a:xfrm flipH="1" flipV="1">
            <a:off x="10849205" y="2831590"/>
            <a:ext cx="7833" cy="204617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68">
            <a:extLst>
              <a:ext uri="{FF2B5EF4-FFF2-40B4-BE49-F238E27FC236}">
                <a16:creationId xmlns:a16="http://schemas.microsoft.com/office/drawing/2014/main" id="{9D79941C-6212-BEEC-AFA4-74ED0348277F}"/>
              </a:ext>
            </a:extLst>
          </p:cNvPr>
          <p:cNvSpPr txBox="1"/>
          <p:nvPr/>
        </p:nvSpPr>
        <p:spPr>
          <a:xfrm>
            <a:off x="10945864" y="2268003"/>
            <a:ext cx="555546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lang="ru-RU" sz="900">
                <a:latin typeface="Montserrat" panose="00000500000000000000" pitchFamily="2" charset="-52"/>
              </a:rPr>
              <a:t>89 млрд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26" name="TextBox 93">
            <a:extLst>
              <a:ext uri="{FF2B5EF4-FFF2-40B4-BE49-F238E27FC236}">
                <a16:creationId xmlns:a16="http://schemas.microsoft.com/office/drawing/2014/main" id="{0648413E-B2B7-B7A2-46DC-4E81743D61C0}"/>
              </a:ext>
            </a:extLst>
          </p:cNvPr>
          <p:cNvSpPr txBox="1"/>
          <p:nvPr/>
        </p:nvSpPr>
        <p:spPr>
          <a:xfrm>
            <a:off x="7639031" y="4972530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9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27" name="TextBox 94">
            <a:extLst>
              <a:ext uri="{FF2B5EF4-FFF2-40B4-BE49-F238E27FC236}">
                <a16:creationId xmlns:a16="http://schemas.microsoft.com/office/drawing/2014/main" id="{84CA9BF0-C913-F97A-CF22-86C8122ED67F}"/>
              </a:ext>
            </a:extLst>
          </p:cNvPr>
          <p:cNvSpPr txBox="1"/>
          <p:nvPr/>
        </p:nvSpPr>
        <p:spPr>
          <a:xfrm>
            <a:off x="9383897" y="4972954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2</a:t>
            </a:r>
          </a:p>
        </p:txBody>
      </p:sp>
      <p:sp>
        <p:nvSpPr>
          <p:cNvPr id="128" name="TextBox 95">
            <a:extLst>
              <a:ext uri="{FF2B5EF4-FFF2-40B4-BE49-F238E27FC236}">
                <a16:creationId xmlns:a16="http://schemas.microsoft.com/office/drawing/2014/main" id="{0ABE477B-E662-7BD1-29CD-0422432A3ADE}"/>
              </a:ext>
            </a:extLst>
          </p:cNvPr>
          <p:cNvSpPr txBox="1"/>
          <p:nvPr/>
        </p:nvSpPr>
        <p:spPr>
          <a:xfrm>
            <a:off x="9945906" y="4976679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3</a:t>
            </a:r>
          </a:p>
        </p:txBody>
      </p:sp>
      <p:cxnSp>
        <p:nvCxnSpPr>
          <p:cNvPr id="129" name="Straight Connector 45">
            <a:extLst>
              <a:ext uri="{FF2B5EF4-FFF2-40B4-BE49-F238E27FC236}">
                <a16:creationId xmlns:a16="http://schemas.microsoft.com/office/drawing/2014/main" id="{F1128AE9-7CB1-DB50-F90D-728035153C26}"/>
              </a:ext>
            </a:extLst>
          </p:cNvPr>
          <p:cNvCxnSpPr>
            <a:cxnSpLocks/>
          </p:cNvCxnSpPr>
          <p:nvPr/>
        </p:nvCxnSpPr>
        <p:spPr>
          <a:xfrm>
            <a:off x="7374018" y="4877564"/>
            <a:ext cx="3920570" cy="2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97">
            <a:extLst>
              <a:ext uri="{FF2B5EF4-FFF2-40B4-BE49-F238E27FC236}">
                <a16:creationId xmlns:a16="http://schemas.microsoft.com/office/drawing/2014/main" id="{354DC0B5-FE9F-CAF3-194F-89867777E491}"/>
              </a:ext>
            </a:extLst>
          </p:cNvPr>
          <p:cNvSpPr txBox="1"/>
          <p:nvPr/>
        </p:nvSpPr>
        <p:spPr>
          <a:xfrm>
            <a:off x="7008475" y="4965528"/>
            <a:ext cx="762175" cy="230832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900">
                <a:latin typeface="Montserrat" panose="00000500000000000000" pitchFamily="2" charset="-52"/>
              </a:rPr>
              <a:t>2018</a:t>
            </a:r>
            <a:endParaRPr lang="ru-RU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131" name="TextBox 98">
            <a:extLst>
              <a:ext uri="{FF2B5EF4-FFF2-40B4-BE49-F238E27FC236}">
                <a16:creationId xmlns:a16="http://schemas.microsoft.com/office/drawing/2014/main" id="{31A219A5-6E3D-2318-B707-3B2D9168BA00}"/>
              </a:ext>
            </a:extLst>
          </p:cNvPr>
          <p:cNvSpPr txBox="1"/>
          <p:nvPr/>
        </p:nvSpPr>
        <p:spPr>
          <a:xfrm>
            <a:off x="10446688" y="4972154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4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32" name="TextBox 100">
            <a:extLst>
              <a:ext uri="{FF2B5EF4-FFF2-40B4-BE49-F238E27FC236}">
                <a16:creationId xmlns:a16="http://schemas.microsoft.com/office/drawing/2014/main" id="{AFB07F7D-66E4-D6B6-5D53-5615044AED5B}"/>
              </a:ext>
            </a:extLst>
          </p:cNvPr>
          <p:cNvSpPr txBox="1"/>
          <p:nvPr/>
        </p:nvSpPr>
        <p:spPr>
          <a:xfrm>
            <a:off x="8155167" y="4969240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0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33" name="TextBox 101">
            <a:extLst>
              <a:ext uri="{FF2B5EF4-FFF2-40B4-BE49-F238E27FC236}">
                <a16:creationId xmlns:a16="http://schemas.microsoft.com/office/drawing/2014/main" id="{23052864-0F7D-5664-D6F4-CA0EADFD9060}"/>
              </a:ext>
            </a:extLst>
          </p:cNvPr>
          <p:cNvSpPr txBox="1"/>
          <p:nvPr/>
        </p:nvSpPr>
        <p:spPr>
          <a:xfrm>
            <a:off x="8712731" y="4969240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34" name="TextBox 110">
            <a:extLst>
              <a:ext uri="{FF2B5EF4-FFF2-40B4-BE49-F238E27FC236}">
                <a16:creationId xmlns:a16="http://schemas.microsoft.com/office/drawing/2014/main" id="{02976E01-476B-25CC-0C13-B4219E918EC3}"/>
              </a:ext>
            </a:extLst>
          </p:cNvPr>
          <p:cNvSpPr txBox="1"/>
          <p:nvPr/>
        </p:nvSpPr>
        <p:spPr>
          <a:xfrm>
            <a:off x="10596186" y="2321900"/>
            <a:ext cx="544005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7</a:t>
            </a:r>
            <a:r>
              <a:rPr lang="ru-RU" sz="900" dirty="0">
                <a:latin typeface="Montserrat" panose="00000500000000000000" pitchFamily="2" charset="-52"/>
              </a:rPr>
              <a:t>6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E80983E6-B17B-05A7-654F-1D5400955774}"/>
              </a:ext>
            </a:extLst>
          </p:cNvPr>
          <p:cNvCxnSpPr>
            <a:cxnSpLocks/>
          </p:cNvCxnSpPr>
          <p:nvPr/>
        </p:nvCxnSpPr>
        <p:spPr>
          <a:xfrm flipV="1">
            <a:off x="11238500" y="2730088"/>
            <a:ext cx="0" cy="211375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98">
            <a:extLst>
              <a:ext uri="{FF2B5EF4-FFF2-40B4-BE49-F238E27FC236}">
                <a16:creationId xmlns:a16="http://schemas.microsoft.com/office/drawing/2014/main" id="{E6C7C317-EEE5-FC3A-F8DE-0F057EF2DB77}"/>
              </a:ext>
            </a:extLst>
          </p:cNvPr>
          <p:cNvSpPr txBox="1"/>
          <p:nvPr/>
        </p:nvSpPr>
        <p:spPr>
          <a:xfrm>
            <a:off x="10944420" y="4975706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900" dirty="0">
                <a:latin typeface="Montserrat" panose="00000500000000000000" pitchFamily="2" charset="-52"/>
              </a:rPr>
              <a:t>3кв. 2025</a:t>
            </a:r>
          </a:p>
        </p:txBody>
      </p:sp>
    </p:spTree>
    <p:extLst>
      <p:ext uri="{BB962C8B-B14F-4D97-AF65-F5344CB8AC3E}">
        <p14:creationId xmlns:p14="http://schemas.microsoft.com/office/powerpoint/2010/main" val="256605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ОБЗОР РЫНКА АКЦИЙ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6188D5-0358-8F5C-0CC8-6BBC86EE5255}"/>
              </a:ext>
            </a:extLst>
          </p:cNvPr>
          <p:cNvSpPr/>
          <p:nvPr/>
        </p:nvSpPr>
        <p:spPr>
          <a:xfrm>
            <a:off x="6295038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DC0974C-8A62-8D6F-D2FD-2C64C01FB999}"/>
              </a:ext>
            </a:extLst>
          </p:cNvPr>
          <p:cNvSpPr txBox="1"/>
          <p:nvPr/>
        </p:nvSpPr>
        <p:spPr>
          <a:xfrm>
            <a:off x="6521481" y="1751767"/>
            <a:ext cx="190150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3BA402-D1E9-DC1B-9C0A-43499745901B}"/>
              </a:ext>
            </a:extLst>
          </p:cNvPr>
          <p:cNvSpPr txBox="1"/>
          <p:nvPr/>
        </p:nvSpPr>
        <p:spPr>
          <a:xfrm>
            <a:off x="6369081" y="5405869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акциями - это общее количество акций компании, которые были куплены и проданы на фондовой бирже за определенный период времени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97E62-4051-88FC-C94D-84493D08BE8E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 dirty="0">
                <a:latin typeface="Montserrat"/>
                <a:cs typeface="Mongolian Baiti"/>
              </a:rPr>
              <a:t>В 3-м кв. </a:t>
            </a:r>
            <a:r>
              <a:rPr lang="en-US" sz="1200" dirty="0">
                <a:latin typeface="Montserrat"/>
                <a:cs typeface="Mongolian Baiti"/>
              </a:rPr>
              <a:t>202</a:t>
            </a:r>
            <a:r>
              <a:rPr lang="ru-RU" sz="1200" dirty="0">
                <a:latin typeface="Montserrat"/>
                <a:cs typeface="Mongolian Baiti"/>
              </a:rPr>
              <a:t>5 г. общее количество новых листингов акций с начала года составило 24. Объем акций, торгуемых на Бирже МФЦА, составил </a:t>
            </a:r>
            <a:r>
              <a:rPr lang="en-US" sz="1200" dirty="0">
                <a:latin typeface="Montserrat"/>
                <a:cs typeface="Mongolian Baiti"/>
              </a:rPr>
              <a:t>$</a:t>
            </a:r>
            <a:r>
              <a:rPr lang="ru-RU" sz="1200" dirty="0">
                <a:latin typeface="Montserrat"/>
                <a:cs typeface="Mongolian Baiti"/>
              </a:rPr>
              <a:t>46</a:t>
            </a:r>
            <a:r>
              <a:rPr lang="en-US" sz="1200" dirty="0">
                <a:latin typeface="Montserrat"/>
                <a:cs typeface="Mongolian Baiti"/>
              </a:rPr>
              <a:t> </a:t>
            </a:r>
            <a:r>
              <a:rPr lang="ru-RU" sz="1200" dirty="0">
                <a:latin typeface="Montserrat"/>
                <a:cs typeface="Mongolian Baiti"/>
              </a:rPr>
              <a:t>млн, что в совокупности с начала года составило $140 млн, что свидетельствует о значительном участии инвесторов и растущей ликвидности платформы.</a:t>
            </a:r>
            <a:endParaRPr lang="en-US" sz="1200" dirty="0">
              <a:latin typeface="Montserrat" panose="00000500000000000000" pitchFamily="2" charset="-52"/>
              <a:cs typeface="Mongolian Bait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5CC2B5-7AC2-AC81-7D04-76E8DBC10147}"/>
              </a:ext>
            </a:extLst>
          </p:cNvPr>
          <p:cNvSpPr txBox="1"/>
          <p:nvPr/>
        </p:nvSpPr>
        <p:spPr>
          <a:xfrm>
            <a:off x="1115791" y="2395657"/>
            <a:ext cx="128624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</a:t>
            </a:r>
            <a:r>
              <a:rPr lang="ru-RU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4</a:t>
            </a:r>
            <a:b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Общее количество листингов 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036D69-D21B-5898-62D8-EB468456D458}"/>
              </a:ext>
            </a:extLst>
          </p:cNvPr>
          <p:cNvSpPr txBox="1"/>
          <p:nvPr/>
        </p:nvSpPr>
        <p:spPr>
          <a:xfrm>
            <a:off x="927042" y="5395050"/>
            <a:ext cx="493815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Увеличение числа размещенных на бирже компаний (эмитентов) и листингов, как правило, повышает ликвидность рынка, что позволяет инвесторам покупать и продавать акции без существенной потери стоимости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D8C93F-7915-CB66-59DC-320FDCF4916E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264006-BF30-65F9-50F9-D55C4425C5DC}"/>
              </a:ext>
            </a:extLst>
          </p:cNvPr>
          <p:cNvSpPr txBox="1"/>
          <p:nvPr/>
        </p:nvSpPr>
        <p:spPr>
          <a:xfrm>
            <a:off x="1115791" y="1749808"/>
            <a:ext cx="282483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ЛИСТИНГИ И ЭМИТЕНТЫ 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C9981C9-E243-7855-8AD5-C5399E3F75DA}"/>
              </a:ext>
            </a:extLst>
          </p:cNvPr>
          <p:cNvGrpSpPr/>
          <p:nvPr/>
        </p:nvGrpSpPr>
        <p:grpSpPr>
          <a:xfrm>
            <a:off x="2145724" y="4941904"/>
            <a:ext cx="1265086" cy="276999"/>
            <a:chOff x="6470624" y="5013777"/>
            <a:chExt cx="1265086" cy="27699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4541DAA-C44D-3E77-7585-0263752B227F}"/>
                </a:ext>
              </a:extLst>
            </p:cNvPr>
            <p:cNvSpPr txBox="1"/>
            <p:nvPr/>
          </p:nvSpPr>
          <p:spPr>
            <a:xfrm>
              <a:off x="6726936" y="5013777"/>
              <a:ext cx="10087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Листинги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7D73756-21DA-0B5E-D6CC-79779412ED5C}"/>
                </a:ext>
              </a:extLst>
            </p:cNvPr>
            <p:cNvSpPr/>
            <p:nvPr/>
          </p:nvSpPr>
          <p:spPr>
            <a:xfrm>
              <a:off x="6470624" y="5106370"/>
              <a:ext cx="305177" cy="94784"/>
            </a:xfrm>
            <a:prstGeom prst="rect">
              <a:avLst/>
            </a:prstGeom>
            <a:solidFill>
              <a:srgbClr val="008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4920623-BECF-E596-9BC7-B073EF9E7624}"/>
              </a:ext>
            </a:extLst>
          </p:cNvPr>
          <p:cNvGrpSpPr/>
          <p:nvPr/>
        </p:nvGrpSpPr>
        <p:grpSpPr>
          <a:xfrm>
            <a:off x="3373180" y="4941904"/>
            <a:ext cx="1283130" cy="276999"/>
            <a:chOff x="7697681" y="5013777"/>
            <a:chExt cx="1283130" cy="27699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ADC2914-EC8D-A8F7-D19D-75B6976CAC36}"/>
                </a:ext>
              </a:extLst>
            </p:cNvPr>
            <p:cNvSpPr/>
            <p:nvPr/>
          </p:nvSpPr>
          <p:spPr>
            <a:xfrm>
              <a:off x="7697681" y="5104885"/>
              <a:ext cx="305177" cy="94784"/>
            </a:xfrm>
            <a:prstGeom prst="rect">
              <a:avLst/>
            </a:prstGeom>
            <a:solidFill>
              <a:srgbClr val="0024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A473FB3-CD7E-B5D4-DAE7-66A8906430AF}"/>
                </a:ext>
              </a:extLst>
            </p:cNvPr>
            <p:cNvSpPr txBox="1"/>
            <p:nvPr/>
          </p:nvSpPr>
          <p:spPr>
            <a:xfrm>
              <a:off x="7972037" y="5013777"/>
              <a:ext cx="10087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Эмитенты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2C115F45-D6F9-99F0-F363-E7BDC2C1668C}"/>
              </a:ext>
            </a:extLst>
          </p:cNvPr>
          <p:cNvSpPr txBox="1"/>
          <p:nvPr/>
        </p:nvSpPr>
        <p:spPr>
          <a:xfrm>
            <a:off x="4898229" y="4829222"/>
            <a:ext cx="11948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Новые листинги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FECC982-D4BC-F116-903F-2F1EB8AD3F6E}"/>
              </a:ext>
            </a:extLst>
          </p:cNvPr>
          <p:cNvCxnSpPr>
            <a:cxnSpLocks/>
          </p:cNvCxnSpPr>
          <p:nvPr/>
        </p:nvCxnSpPr>
        <p:spPr>
          <a:xfrm>
            <a:off x="4618680" y="5060055"/>
            <a:ext cx="269082" cy="0"/>
          </a:xfrm>
          <a:prstGeom prst="line">
            <a:avLst/>
          </a:prstGeom>
          <a:ln w="19050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D842D2A9-4BF3-4D36-17AC-BFBC0BD94545}"/>
              </a:ext>
            </a:extLst>
          </p:cNvPr>
          <p:cNvSpPr/>
          <p:nvPr/>
        </p:nvSpPr>
        <p:spPr>
          <a:xfrm>
            <a:off x="4706221" y="5018734"/>
            <a:ext cx="85726" cy="82640"/>
          </a:xfrm>
          <a:prstGeom prst="ellipse">
            <a:avLst/>
          </a:prstGeom>
          <a:solidFill>
            <a:srgbClr val="B4C7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2" name="Chart 2">
            <a:extLst>
              <a:ext uri="{FF2B5EF4-FFF2-40B4-BE49-F238E27FC236}">
                <a16:creationId xmlns:a16="http://schemas.microsoft.com/office/drawing/2014/main" id="{80BBF4C8-60AA-4BC8-5F0A-465832365B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7394748"/>
              </p:ext>
            </p:extLst>
          </p:nvPr>
        </p:nvGraphicFramePr>
        <p:xfrm>
          <a:off x="2003386" y="2091483"/>
          <a:ext cx="4158165" cy="65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15">
            <a:extLst>
              <a:ext uri="{FF2B5EF4-FFF2-40B4-BE49-F238E27FC236}">
                <a16:creationId xmlns:a16="http://schemas.microsoft.com/office/drawing/2014/main" id="{D23AC371-0E6F-0173-AD6F-C9F0188898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3870472"/>
              </p:ext>
            </p:extLst>
          </p:nvPr>
        </p:nvGraphicFramePr>
        <p:xfrm>
          <a:off x="1847272" y="2526407"/>
          <a:ext cx="4014326" cy="2373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Chart 40">
            <a:extLst>
              <a:ext uri="{FF2B5EF4-FFF2-40B4-BE49-F238E27FC236}">
                <a16:creationId xmlns:a16="http://schemas.microsoft.com/office/drawing/2014/main" id="{BA702ED6-5EC1-1D8B-8587-A5C8A893CC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3726073"/>
              </p:ext>
            </p:extLst>
          </p:nvPr>
        </p:nvGraphicFramePr>
        <p:xfrm>
          <a:off x="7278255" y="2240380"/>
          <a:ext cx="4082229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Box 41">
            <a:extLst>
              <a:ext uri="{FF2B5EF4-FFF2-40B4-BE49-F238E27FC236}">
                <a16:creationId xmlns:a16="http://schemas.microsoft.com/office/drawing/2014/main" id="{AB13A9E9-FC2B-9CD2-7179-83928832E427}"/>
              </a:ext>
            </a:extLst>
          </p:cNvPr>
          <p:cNvSpPr txBox="1"/>
          <p:nvPr/>
        </p:nvSpPr>
        <p:spPr>
          <a:xfrm>
            <a:off x="7335501" y="4529290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9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2" name="TextBox 42">
            <a:extLst>
              <a:ext uri="{FF2B5EF4-FFF2-40B4-BE49-F238E27FC236}">
                <a16:creationId xmlns:a16="http://schemas.microsoft.com/office/drawing/2014/main" id="{EC9345E5-2339-88F3-8807-302CF9F3C618}"/>
              </a:ext>
            </a:extLst>
          </p:cNvPr>
          <p:cNvSpPr txBox="1"/>
          <p:nvPr/>
        </p:nvSpPr>
        <p:spPr>
          <a:xfrm>
            <a:off x="7780873" y="4277691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48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3" name="TextBox 43">
            <a:extLst>
              <a:ext uri="{FF2B5EF4-FFF2-40B4-BE49-F238E27FC236}">
                <a16:creationId xmlns:a16="http://schemas.microsoft.com/office/drawing/2014/main" id="{170BBD13-3D6B-352A-2AFC-35E7151C325D}"/>
              </a:ext>
            </a:extLst>
          </p:cNvPr>
          <p:cNvSpPr txBox="1"/>
          <p:nvPr/>
        </p:nvSpPr>
        <p:spPr>
          <a:xfrm>
            <a:off x="8260330" y="4430926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34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4" name="TextBox 44">
            <a:extLst>
              <a:ext uri="{FF2B5EF4-FFF2-40B4-BE49-F238E27FC236}">
                <a16:creationId xmlns:a16="http://schemas.microsoft.com/office/drawing/2014/main" id="{10547048-E2B7-0D69-380E-4BD90B8B7AD1}"/>
              </a:ext>
            </a:extLst>
          </p:cNvPr>
          <p:cNvSpPr txBox="1"/>
          <p:nvPr/>
        </p:nvSpPr>
        <p:spPr>
          <a:xfrm>
            <a:off x="8730439" y="4176705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94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6" name="TextBox 45">
            <a:extLst>
              <a:ext uri="{FF2B5EF4-FFF2-40B4-BE49-F238E27FC236}">
                <a16:creationId xmlns:a16="http://schemas.microsoft.com/office/drawing/2014/main" id="{5D004C76-0DB5-D2E1-FFDC-194D8B3691E3}"/>
              </a:ext>
            </a:extLst>
          </p:cNvPr>
          <p:cNvSpPr txBox="1"/>
          <p:nvPr/>
        </p:nvSpPr>
        <p:spPr>
          <a:xfrm>
            <a:off x="9192085" y="4315726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>
                <a:latin typeface="Montserrat" panose="00000500000000000000" pitchFamily="2" charset="-52"/>
              </a:rPr>
              <a:t>$67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6EE0D5E7-49F2-4519-190F-E309235578C7}"/>
              </a:ext>
            </a:extLst>
          </p:cNvPr>
          <p:cNvSpPr txBox="1"/>
          <p:nvPr/>
        </p:nvSpPr>
        <p:spPr>
          <a:xfrm>
            <a:off x="9653731" y="3997354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30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8" name="TextBox 19">
            <a:extLst>
              <a:ext uri="{FF2B5EF4-FFF2-40B4-BE49-F238E27FC236}">
                <a16:creationId xmlns:a16="http://schemas.microsoft.com/office/drawing/2014/main" id="{29DC921E-7651-85A7-ACCE-1013554AA275}"/>
              </a:ext>
            </a:extLst>
          </p:cNvPr>
          <p:cNvSpPr txBox="1"/>
          <p:nvPr/>
        </p:nvSpPr>
        <p:spPr>
          <a:xfrm>
            <a:off x="10129003" y="2506225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lang="en-US" sz="1050">
                <a:latin typeface="Montserrat" panose="00000500000000000000" pitchFamily="2" charset="-52"/>
              </a:rPr>
              <a:t>495</a:t>
            </a:r>
            <a:r>
              <a:rPr lang="ru-RU" sz="105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9" name="TextBox 18">
            <a:extLst>
              <a:ext uri="{FF2B5EF4-FFF2-40B4-BE49-F238E27FC236}">
                <a16:creationId xmlns:a16="http://schemas.microsoft.com/office/drawing/2014/main" id="{7F1210A2-DF0A-EE3C-D16C-FBEDF102F0DA}"/>
              </a:ext>
            </a:extLst>
          </p:cNvPr>
          <p:cNvSpPr txBox="1"/>
          <p:nvPr/>
        </p:nvSpPr>
        <p:spPr>
          <a:xfrm>
            <a:off x="10598491" y="3959361"/>
            <a:ext cx="761993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40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071995-C509-6EAE-D695-281DA0FCCD68}"/>
              </a:ext>
            </a:extLst>
          </p:cNvPr>
          <p:cNvSpPr txBox="1"/>
          <p:nvPr/>
        </p:nvSpPr>
        <p:spPr>
          <a:xfrm>
            <a:off x="6509150" y="2395657"/>
            <a:ext cx="165270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46 млн</a:t>
            </a:r>
            <a:b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акциями в 3-м кв. </a:t>
            </a:r>
            <a: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  <a:t>202</a:t>
            </a: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5 г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71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ТОП АКЦИЙ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AB769B3F-1768-C55B-7217-2665EE0D7B72}"/>
              </a:ext>
            </a:extLst>
          </p:cNvPr>
          <p:cNvSpPr/>
          <p:nvPr/>
        </p:nvSpPr>
        <p:spPr>
          <a:xfrm>
            <a:off x="874239" y="3866581"/>
            <a:ext cx="10965694" cy="227106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11">
            <a:extLst>
              <a:ext uri="{FF2B5EF4-FFF2-40B4-BE49-F238E27FC236}">
                <a16:creationId xmlns:a16="http://schemas.microsoft.com/office/drawing/2014/main" id="{C7874395-7D1F-3C4A-741F-D96F0E0F4E78}"/>
              </a:ext>
            </a:extLst>
          </p:cNvPr>
          <p:cNvSpPr/>
          <p:nvPr/>
        </p:nvSpPr>
        <p:spPr>
          <a:xfrm>
            <a:off x="874241" y="1209024"/>
            <a:ext cx="10443518" cy="238608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9946787-6442-0693-ADAF-601B9C7405B0}"/>
              </a:ext>
            </a:extLst>
          </p:cNvPr>
          <p:cNvCxnSpPr>
            <a:cxnSpLocks/>
          </p:cNvCxnSpPr>
          <p:nvPr/>
        </p:nvCxnSpPr>
        <p:spPr>
          <a:xfrm>
            <a:off x="874237" y="6244751"/>
            <a:ext cx="1148787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30E2F78A-EA61-40A0-1BB0-54FD07BA09E5}"/>
              </a:ext>
            </a:extLst>
          </p:cNvPr>
          <p:cNvSpPr txBox="1"/>
          <p:nvPr/>
        </p:nvSpPr>
        <p:spPr>
          <a:xfrm>
            <a:off x="874240" y="6502895"/>
            <a:ext cx="4938158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*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Доля от общего объема торгов (акции + </a:t>
            </a:r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GDR)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 в сентябре 2025г.</a:t>
            </a:r>
            <a:endParaRPr lang="en-US" sz="9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C86396-4F86-1732-0471-1555F40E1CD5}"/>
              </a:ext>
            </a:extLst>
          </p:cNvPr>
          <p:cNvSpPr txBox="1"/>
          <p:nvPr/>
        </p:nvSpPr>
        <p:spPr>
          <a:xfrm>
            <a:off x="1115790" y="1065010"/>
            <a:ext cx="6109331" cy="32316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ТОП АКЦИЙ С НАИБОЛЬШИМ ПРИРОСТОМ СТОИМОСТИ</a:t>
            </a:r>
            <a:endParaRPr lang="en-US" sz="14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CAA36C-DDBB-830A-C302-8A858D3E8B29}"/>
              </a:ext>
            </a:extLst>
          </p:cNvPr>
          <p:cNvSpPr txBox="1"/>
          <p:nvPr/>
        </p:nvSpPr>
        <p:spPr>
          <a:xfrm>
            <a:off x="1115790" y="3767172"/>
            <a:ext cx="4808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ТОП-5 САМЫХ ТОРГУЕМЫХ АКЦИЙ*</a:t>
            </a:r>
            <a:endParaRPr lang="en-US" sz="14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3" name="Group 42">
            <a:extLst>
              <a:ext uri="{FF2B5EF4-FFF2-40B4-BE49-F238E27FC236}">
                <a16:creationId xmlns:a16="http://schemas.microsoft.com/office/drawing/2014/main" id="{47BE0FC2-9038-0AA9-E934-E028406B70F8}"/>
              </a:ext>
            </a:extLst>
          </p:cNvPr>
          <p:cNvGrpSpPr/>
          <p:nvPr/>
        </p:nvGrpSpPr>
        <p:grpSpPr>
          <a:xfrm>
            <a:off x="1074332" y="1410518"/>
            <a:ext cx="2874271" cy="2008764"/>
            <a:chOff x="1072149" y="1496059"/>
            <a:chExt cx="2565510" cy="1792979"/>
          </a:xfrm>
        </p:grpSpPr>
        <p:sp>
          <p:nvSpPr>
            <p:cNvPr id="46" name="TextBox 43">
              <a:extLst>
                <a:ext uri="{FF2B5EF4-FFF2-40B4-BE49-F238E27FC236}">
                  <a16:creationId xmlns:a16="http://schemas.microsoft.com/office/drawing/2014/main" id="{42055157-3FB9-B2DD-04E8-9BE44F1F2736}"/>
                </a:ext>
              </a:extLst>
            </p:cNvPr>
            <p:cNvSpPr txBox="1"/>
            <p:nvPr/>
          </p:nvSpPr>
          <p:spPr>
            <a:xfrm>
              <a:off x="1072149" y="1496059"/>
              <a:ext cx="256551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err="1">
                  <a:latin typeface="Montserrat" panose="00000500000000000000" pitchFamily="2" charset="-52"/>
                  <a:cs typeface="Mongolian Baiti" panose="03000500000000000000" pitchFamily="66" charset="0"/>
                </a:rPr>
                <a:t>Solidcore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7" name="Oval 44">
              <a:extLst>
                <a:ext uri="{FF2B5EF4-FFF2-40B4-BE49-F238E27FC236}">
                  <a16:creationId xmlns:a16="http://schemas.microsoft.com/office/drawing/2014/main" id="{944499C0-9F55-32DD-B168-3DF315DDE32A}"/>
                </a:ext>
              </a:extLst>
            </p:cNvPr>
            <p:cNvSpPr/>
            <p:nvPr/>
          </p:nvSpPr>
          <p:spPr>
            <a:xfrm>
              <a:off x="1657588" y="1903038"/>
              <a:ext cx="1386000" cy="13860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38.6%</a:t>
              </a:r>
            </a:p>
          </p:txBody>
        </p:sp>
      </p:grpSp>
      <p:grpSp>
        <p:nvGrpSpPr>
          <p:cNvPr id="5" name="Group 45">
            <a:extLst>
              <a:ext uri="{FF2B5EF4-FFF2-40B4-BE49-F238E27FC236}">
                <a16:creationId xmlns:a16="http://schemas.microsoft.com/office/drawing/2014/main" id="{A0A3788E-F9F4-B9C6-9123-4A85E815D028}"/>
              </a:ext>
            </a:extLst>
          </p:cNvPr>
          <p:cNvGrpSpPr/>
          <p:nvPr/>
        </p:nvGrpSpPr>
        <p:grpSpPr>
          <a:xfrm>
            <a:off x="3698433" y="1410517"/>
            <a:ext cx="2411965" cy="1885822"/>
            <a:chOff x="3294217" y="1496059"/>
            <a:chExt cx="2242572" cy="1753379"/>
          </a:xfrm>
        </p:grpSpPr>
        <p:sp>
          <p:nvSpPr>
            <p:cNvPr id="44" name="TextBox 46">
              <a:extLst>
                <a:ext uri="{FF2B5EF4-FFF2-40B4-BE49-F238E27FC236}">
                  <a16:creationId xmlns:a16="http://schemas.microsoft.com/office/drawing/2014/main" id="{7CDA641A-90F2-0586-9EF4-2F29CFFCD52A}"/>
                </a:ext>
              </a:extLst>
            </p:cNvPr>
            <p:cNvSpPr txBox="1"/>
            <p:nvPr/>
          </p:nvSpPr>
          <p:spPr>
            <a:xfrm>
              <a:off x="3294217" y="1496059"/>
              <a:ext cx="224257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Kazatomprom</a:t>
              </a:r>
            </a:p>
          </p:txBody>
        </p:sp>
        <p:sp>
          <p:nvSpPr>
            <p:cNvPr id="45" name="Oval 47">
              <a:extLst>
                <a:ext uri="{FF2B5EF4-FFF2-40B4-BE49-F238E27FC236}">
                  <a16:creationId xmlns:a16="http://schemas.microsoft.com/office/drawing/2014/main" id="{711DEC4B-DAF1-CABF-F614-99639F21B7D9}"/>
                </a:ext>
              </a:extLst>
            </p:cNvPr>
            <p:cNvSpPr/>
            <p:nvPr/>
          </p:nvSpPr>
          <p:spPr>
            <a:xfrm>
              <a:off x="3762103" y="1942638"/>
              <a:ext cx="1306800" cy="13068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17%</a:t>
              </a:r>
            </a:p>
          </p:txBody>
        </p:sp>
      </p:grpSp>
      <p:grpSp>
        <p:nvGrpSpPr>
          <p:cNvPr id="29" name="Group 48">
            <a:extLst>
              <a:ext uri="{FF2B5EF4-FFF2-40B4-BE49-F238E27FC236}">
                <a16:creationId xmlns:a16="http://schemas.microsoft.com/office/drawing/2014/main" id="{ACA37DC7-92DF-DC26-A3E0-9E61263863D3}"/>
              </a:ext>
            </a:extLst>
          </p:cNvPr>
          <p:cNvGrpSpPr/>
          <p:nvPr/>
        </p:nvGrpSpPr>
        <p:grpSpPr>
          <a:xfrm>
            <a:off x="5701201" y="1410517"/>
            <a:ext cx="2366663" cy="1883781"/>
            <a:chOff x="5287351" y="1496059"/>
            <a:chExt cx="2049058" cy="1630979"/>
          </a:xfrm>
        </p:grpSpPr>
        <p:sp>
          <p:nvSpPr>
            <p:cNvPr id="39" name="TextBox 49">
              <a:extLst>
                <a:ext uri="{FF2B5EF4-FFF2-40B4-BE49-F238E27FC236}">
                  <a16:creationId xmlns:a16="http://schemas.microsoft.com/office/drawing/2014/main" id="{C7654679-D958-FF89-D3DF-E026B4F18A57}"/>
                </a:ext>
              </a:extLst>
            </p:cNvPr>
            <p:cNvSpPr txBox="1"/>
            <p:nvPr/>
          </p:nvSpPr>
          <p:spPr>
            <a:xfrm>
              <a:off x="5287351" y="1496059"/>
              <a:ext cx="204905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МунайГаз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  <a:p>
              <a:pPr algn="ctr"/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3" name="Oval 50">
              <a:extLst>
                <a:ext uri="{FF2B5EF4-FFF2-40B4-BE49-F238E27FC236}">
                  <a16:creationId xmlns:a16="http://schemas.microsoft.com/office/drawing/2014/main" id="{7DBE0DEA-8478-9D58-6C91-3D2064B751E9}"/>
                </a:ext>
              </a:extLst>
            </p:cNvPr>
            <p:cNvSpPr/>
            <p:nvPr/>
          </p:nvSpPr>
          <p:spPr>
            <a:xfrm>
              <a:off x="5820997" y="2101038"/>
              <a:ext cx="1025059" cy="10260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11%</a:t>
              </a:r>
            </a:p>
          </p:txBody>
        </p:sp>
      </p:grpSp>
      <p:grpSp>
        <p:nvGrpSpPr>
          <p:cNvPr id="31" name="Group 51">
            <a:extLst>
              <a:ext uri="{FF2B5EF4-FFF2-40B4-BE49-F238E27FC236}">
                <a16:creationId xmlns:a16="http://schemas.microsoft.com/office/drawing/2014/main" id="{23C41BBA-E07C-54CB-D9C4-D3922981E61A}"/>
              </a:ext>
            </a:extLst>
          </p:cNvPr>
          <p:cNvGrpSpPr/>
          <p:nvPr/>
        </p:nvGrpSpPr>
        <p:grpSpPr>
          <a:xfrm>
            <a:off x="7570674" y="1420328"/>
            <a:ext cx="2140637" cy="1812571"/>
            <a:chOff x="7082556" y="1494846"/>
            <a:chExt cx="1853365" cy="1569325"/>
          </a:xfrm>
        </p:grpSpPr>
        <p:sp>
          <p:nvSpPr>
            <p:cNvPr id="35" name="Oval 52">
              <a:extLst>
                <a:ext uri="{FF2B5EF4-FFF2-40B4-BE49-F238E27FC236}">
                  <a16:creationId xmlns:a16="http://schemas.microsoft.com/office/drawing/2014/main" id="{D5965B4C-A8D8-46F2-C547-CF686E2F5FE8}"/>
                </a:ext>
              </a:extLst>
            </p:cNvPr>
            <p:cNvSpPr/>
            <p:nvPr/>
          </p:nvSpPr>
          <p:spPr>
            <a:xfrm>
              <a:off x="7535666" y="2105851"/>
              <a:ext cx="958320" cy="95832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10%</a:t>
              </a:r>
            </a:p>
          </p:txBody>
        </p:sp>
        <p:sp>
          <p:nvSpPr>
            <p:cNvPr id="37" name="TextBox 53">
              <a:extLst>
                <a:ext uri="{FF2B5EF4-FFF2-40B4-BE49-F238E27FC236}">
                  <a16:creationId xmlns:a16="http://schemas.microsoft.com/office/drawing/2014/main" id="{7FCAACB0-BE87-63B6-3F0F-422BAC2C2E3F}"/>
                </a:ext>
              </a:extLst>
            </p:cNvPr>
            <p:cNvSpPr txBox="1"/>
            <p:nvPr/>
          </p:nvSpPr>
          <p:spPr>
            <a:xfrm>
              <a:off x="7082556" y="1494846"/>
              <a:ext cx="185336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AIRA</a:t>
              </a:r>
            </a:p>
          </p:txBody>
        </p:sp>
      </p:grpSp>
      <p:grpSp>
        <p:nvGrpSpPr>
          <p:cNvPr id="32" name="Group 1">
            <a:extLst>
              <a:ext uri="{FF2B5EF4-FFF2-40B4-BE49-F238E27FC236}">
                <a16:creationId xmlns:a16="http://schemas.microsoft.com/office/drawing/2014/main" id="{DAAE8C0F-A60D-4703-462B-55A8B31317BF}"/>
              </a:ext>
            </a:extLst>
          </p:cNvPr>
          <p:cNvGrpSpPr/>
          <p:nvPr/>
        </p:nvGrpSpPr>
        <p:grpSpPr>
          <a:xfrm>
            <a:off x="9078662" y="1420331"/>
            <a:ext cx="2366663" cy="1679099"/>
            <a:chOff x="6928506" y="1494846"/>
            <a:chExt cx="2049058" cy="1453765"/>
          </a:xfrm>
        </p:grpSpPr>
        <p:sp>
          <p:nvSpPr>
            <p:cNvPr id="33" name="Oval 2">
              <a:extLst>
                <a:ext uri="{FF2B5EF4-FFF2-40B4-BE49-F238E27FC236}">
                  <a16:creationId xmlns:a16="http://schemas.microsoft.com/office/drawing/2014/main" id="{3F88818C-680E-6FEF-C7D6-B591A99E4D6C}"/>
                </a:ext>
              </a:extLst>
            </p:cNvPr>
            <p:cNvSpPr/>
            <p:nvPr/>
          </p:nvSpPr>
          <p:spPr>
            <a:xfrm>
              <a:off x="7584626" y="2156611"/>
              <a:ext cx="792000" cy="7920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9.8%</a:t>
              </a:r>
            </a:p>
          </p:txBody>
        </p:sp>
        <p:sp>
          <p:nvSpPr>
            <p:cNvPr id="34" name="TextBox 4">
              <a:extLst>
                <a:ext uri="{FF2B5EF4-FFF2-40B4-BE49-F238E27FC236}">
                  <a16:creationId xmlns:a16="http://schemas.microsoft.com/office/drawing/2014/main" id="{CB13E79F-7D16-2D71-1D1C-182C5ADADB01}"/>
                </a:ext>
              </a:extLst>
            </p:cNvPr>
            <p:cNvSpPr txBox="1"/>
            <p:nvPr/>
          </p:nvSpPr>
          <p:spPr>
            <a:xfrm>
              <a:off x="6928506" y="1494846"/>
              <a:ext cx="204905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err="1">
                  <a:latin typeface="Montserrat" panose="00000500000000000000" pitchFamily="2" charset="-52"/>
                  <a:cs typeface="Mongolian Baiti" panose="03000500000000000000" pitchFamily="66" charset="0"/>
                </a:rPr>
                <a:t>Nandua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  <p:grpSp>
        <p:nvGrpSpPr>
          <p:cNvPr id="49" name="Group 62">
            <a:extLst>
              <a:ext uri="{FF2B5EF4-FFF2-40B4-BE49-F238E27FC236}">
                <a16:creationId xmlns:a16="http://schemas.microsoft.com/office/drawing/2014/main" id="{81BBEBCA-F24F-695D-B305-D0391C23459A}"/>
              </a:ext>
            </a:extLst>
          </p:cNvPr>
          <p:cNvGrpSpPr/>
          <p:nvPr/>
        </p:nvGrpSpPr>
        <p:grpSpPr>
          <a:xfrm>
            <a:off x="5957684" y="4186714"/>
            <a:ext cx="1769121" cy="1763563"/>
            <a:chOff x="3681231" y="4392230"/>
            <a:chExt cx="1531706" cy="1526898"/>
          </a:xfrm>
        </p:grpSpPr>
        <p:sp>
          <p:nvSpPr>
            <p:cNvPr id="69" name="TextBox 19">
              <a:extLst>
                <a:ext uri="{FF2B5EF4-FFF2-40B4-BE49-F238E27FC236}">
                  <a16:creationId xmlns:a16="http://schemas.microsoft.com/office/drawing/2014/main" id="{97EAFF2B-5970-1687-9097-B62B876E299F}"/>
                </a:ext>
              </a:extLst>
            </p:cNvPr>
            <p:cNvSpPr txBox="1"/>
            <p:nvPr/>
          </p:nvSpPr>
          <p:spPr>
            <a:xfrm>
              <a:off x="3681231" y="4392230"/>
              <a:ext cx="153170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Air Astana</a:t>
              </a:r>
            </a:p>
          </p:txBody>
        </p:sp>
        <p:sp>
          <p:nvSpPr>
            <p:cNvPr id="70" name="Oval 11">
              <a:extLst>
                <a:ext uri="{FF2B5EF4-FFF2-40B4-BE49-F238E27FC236}">
                  <a16:creationId xmlns:a16="http://schemas.microsoft.com/office/drawing/2014/main" id="{1A4AE75B-416B-FA5A-969E-489DBE797988}"/>
                </a:ext>
              </a:extLst>
            </p:cNvPr>
            <p:cNvSpPr/>
            <p:nvPr/>
          </p:nvSpPr>
          <p:spPr>
            <a:xfrm>
              <a:off x="4015760" y="5026566"/>
              <a:ext cx="892562" cy="892562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6.9%</a:t>
              </a:r>
            </a:p>
          </p:txBody>
        </p:sp>
      </p:grpSp>
      <p:grpSp>
        <p:nvGrpSpPr>
          <p:cNvPr id="50" name="Group 63">
            <a:extLst>
              <a:ext uri="{FF2B5EF4-FFF2-40B4-BE49-F238E27FC236}">
                <a16:creationId xmlns:a16="http://schemas.microsoft.com/office/drawing/2014/main" id="{09292BE6-8DA5-1F4E-7004-5CBB0E8156F6}"/>
              </a:ext>
            </a:extLst>
          </p:cNvPr>
          <p:cNvGrpSpPr/>
          <p:nvPr/>
        </p:nvGrpSpPr>
        <p:grpSpPr>
          <a:xfrm>
            <a:off x="1085493" y="4193820"/>
            <a:ext cx="2903902" cy="1874719"/>
            <a:chOff x="1083939" y="4509588"/>
            <a:chExt cx="2565510" cy="1656258"/>
          </a:xfrm>
        </p:grpSpPr>
        <p:sp>
          <p:nvSpPr>
            <p:cNvPr id="65" name="TextBox 27">
              <a:extLst>
                <a:ext uri="{FF2B5EF4-FFF2-40B4-BE49-F238E27FC236}">
                  <a16:creationId xmlns:a16="http://schemas.microsoft.com/office/drawing/2014/main" id="{5C74FBF2-FA21-E3DD-0723-629205D5D17D}"/>
                </a:ext>
              </a:extLst>
            </p:cNvPr>
            <p:cNvSpPr txBox="1"/>
            <p:nvPr/>
          </p:nvSpPr>
          <p:spPr>
            <a:xfrm>
              <a:off x="1083939" y="4509588"/>
              <a:ext cx="256551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 err="1">
                  <a:latin typeface="Montserrat" panose="00000500000000000000" pitchFamily="2" charset="-52"/>
                  <a:cs typeface="Mongolian Baiti" panose="03000500000000000000" pitchFamily="66" charset="0"/>
                </a:rPr>
                <a:t>Solidcore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6" name="Oval 5">
              <a:extLst>
                <a:ext uri="{FF2B5EF4-FFF2-40B4-BE49-F238E27FC236}">
                  <a16:creationId xmlns:a16="http://schemas.microsoft.com/office/drawing/2014/main" id="{B85DB970-9A3B-9AC4-9F07-B31EAAD33746}"/>
                </a:ext>
              </a:extLst>
            </p:cNvPr>
            <p:cNvSpPr/>
            <p:nvPr/>
          </p:nvSpPr>
          <p:spPr>
            <a:xfrm>
              <a:off x="1657588" y="4779846"/>
              <a:ext cx="1386001" cy="13860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48.9%</a:t>
              </a:r>
            </a:p>
          </p:txBody>
        </p:sp>
      </p:grpSp>
      <p:grpSp>
        <p:nvGrpSpPr>
          <p:cNvPr id="51" name="Group 61">
            <a:extLst>
              <a:ext uri="{FF2B5EF4-FFF2-40B4-BE49-F238E27FC236}">
                <a16:creationId xmlns:a16="http://schemas.microsoft.com/office/drawing/2014/main" id="{B71DCC4D-19FA-89D8-995C-58EE6CEFE24A}"/>
              </a:ext>
            </a:extLst>
          </p:cNvPr>
          <p:cNvGrpSpPr/>
          <p:nvPr/>
        </p:nvGrpSpPr>
        <p:grpSpPr>
          <a:xfrm>
            <a:off x="4051667" y="4186710"/>
            <a:ext cx="2006559" cy="1884915"/>
            <a:chOff x="5557620" y="4392230"/>
            <a:chExt cx="1531706" cy="1439118"/>
          </a:xfrm>
        </p:grpSpPr>
        <p:sp>
          <p:nvSpPr>
            <p:cNvPr id="58" name="TextBox 31">
              <a:extLst>
                <a:ext uri="{FF2B5EF4-FFF2-40B4-BE49-F238E27FC236}">
                  <a16:creationId xmlns:a16="http://schemas.microsoft.com/office/drawing/2014/main" id="{8838FB0C-B43D-3C36-F0C3-369DF44A1583}"/>
                </a:ext>
              </a:extLst>
            </p:cNvPr>
            <p:cNvSpPr txBox="1"/>
            <p:nvPr/>
          </p:nvSpPr>
          <p:spPr>
            <a:xfrm>
              <a:off x="5557620" y="4392230"/>
              <a:ext cx="153170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МунайГаз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59" name="Oval 21">
              <a:extLst>
                <a:ext uri="{FF2B5EF4-FFF2-40B4-BE49-F238E27FC236}">
                  <a16:creationId xmlns:a16="http://schemas.microsoft.com/office/drawing/2014/main" id="{3DCB4B15-1ACC-F247-85BC-F1B791489BFC}"/>
                </a:ext>
              </a:extLst>
            </p:cNvPr>
            <p:cNvSpPr/>
            <p:nvPr/>
          </p:nvSpPr>
          <p:spPr>
            <a:xfrm>
              <a:off x="5705391" y="4770985"/>
              <a:ext cx="1060363" cy="1060363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en-US" sz="12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29.3%</a:t>
              </a:r>
            </a:p>
          </p:txBody>
        </p:sp>
      </p:grpSp>
      <p:grpSp>
        <p:nvGrpSpPr>
          <p:cNvPr id="52" name="Group 60">
            <a:extLst>
              <a:ext uri="{FF2B5EF4-FFF2-40B4-BE49-F238E27FC236}">
                <a16:creationId xmlns:a16="http://schemas.microsoft.com/office/drawing/2014/main" id="{77DFB7CC-0F32-3A13-934B-7CA45F69ABD1}"/>
              </a:ext>
            </a:extLst>
          </p:cNvPr>
          <p:cNvGrpSpPr/>
          <p:nvPr/>
        </p:nvGrpSpPr>
        <p:grpSpPr>
          <a:xfrm>
            <a:off x="7754051" y="4186715"/>
            <a:ext cx="1711983" cy="1769263"/>
            <a:chOff x="7170348" y="4392230"/>
            <a:chExt cx="1482238" cy="1531831"/>
          </a:xfrm>
        </p:grpSpPr>
        <p:sp>
          <p:nvSpPr>
            <p:cNvPr id="56" name="Oval 37">
              <a:extLst>
                <a:ext uri="{FF2B5EF4-FFF2-40B4-BE49-F238E27FC236}">
                  <a16:creationId xmlns:a16="http://schemas.microsoft.com/office/drawing/2014/main" id="{3332D080-7070-42BE-DC26-2D5BD0EE8809}"/>
                </a:ext>
              </a:extLst>
            </p:cNvPr>
            <p:cNvSpPr/>
            <p:nvPr/>
          </p:nvSpPr>
          <p:spPr>
            <a:xfrm>
              <a:off x="7449706" y="5052861"/>
              <a:ext cx="871200" cy="8712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ru-RU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4</a:t>
              </a:r>
              <a:r>
                <a:rPr lang="en-US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.</a:t>
              </a:r>
              <a:r>
                <a:rPr lang="ru-RU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2</a:t>
              </a:r>
              <a:r>
                <a:rPr lang="en-US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  <p:sp>
          <p:nvSpPr>
            <p:cNvPr id="57" name="TextBox 38">
              <a:extLst>
                <a:ext uri="{FF2B5EF4-FFF2-40B4-BE49-F238E27FC236}">
                  <a16:creationId xmlns:a16="http://schemas.microsoft.com/office/drawing/2014/main" id="{62DE413A-A09B-A2D6-80BD-7D1BECB33553}"/>
                </a:ext>
              </a:extLst>
            </p:cNvPr>
            <p:cNvSpPr txBox="1"/>
            <p:nvPr/>
          </p:nvSpPr>
          <p:spPr>
            <a:xfrm>
              <a:off x="7170348" y="4392230"/>
              <a:ext cx="148223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Банк ЦентрКредит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  <p:grpSp>
        <p:nvGrpSpPr>
          <p:cNvPr id="53" name="Group 59">
            <a:extLst>
              <a:ext uri="{FF2B5EF4-FFF2-40B4-BE49-F238E27FC236}">
                <a16:creationId xmlns:a16="http://schemas.microsoft.com/office/drawing/2014/main" id="{9795B623-E96E-6499-12D9-2F007609306B}"/>
              </a:ext>
            </a:extLst>
          </p:cNvPr>
          <p:cNvGrpSpPr/>
          <p:nvPr/>
        </p:nvGrpSpPr>
        <p:grpSpPr>
          <a:xfrm>
            <a:off x="9133114" y="4186716"/>
            <a:ext cx="2301209" cy="1705486"/>
            <a:chOff x="8281942" y="4392230"/>
            <a:chExt cx="1992389" cy="1476616"/>
          </a:xfrm>
        </p:grpSpPr>
        <p:sp>
          <p:nvSpPr>
            <p:cNvPr id="54" name="Oval 40">
              <a:extLst>
                <a:ext uri="{FF2B5EF4-FFF2-40B4-BE49-F238E27FC236}">
                  <a16:creationId xmlns:a16="http://schemas.microsoft.com/office/drawing/2014/main" id="{D38043D6-00E8-F40F-9AD9-60CC7A108446}"/>
                </a:ext>
              </a:extLst>
            </p:cNvPr>
            <p:cNvSpPr/>
            <p:nvPr/>
          </p:nvSpPr>
          <p:spPr>
            <a:xfrm>
              <a:off x="8908191" y="5076846"/>
              <a:ext cx="792000" cy="7920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2628">
                <a:defRPr/>
              </a:pPr>
              <a:r>
                <a:rPr lang="ru-RU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3</a:t>
              </a:r>
              <a:r>
                <a:rPr lang="en-US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.</a:t>
              </a:r>
              <a:r>
                <a:rPr lang="ru-RU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8</a:t>
              </a:r>
              <a:r>
                <a:rPr lang="en-US" sz="1100" b="1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  <p:sp>
          <p:nvSpPr>
            <p:cNvPr id="55" name="TextBox 41">
              <a:extLst>
                <a:ext uri="{FF2B5EF4-FFF2-40B4-BE49-F238E27FC236}">
                  <a16:creationId xmlns:a16="http://schemas.microsoft.com/office/drawing/2014/main" id="{2E1D981D-8940-2675-6E05-8B851F26D23D}"/>
                </a:ext>
              </a:extLst>
            </p:cNvPr>
            <p:cNvSpPr txBox="1"/>
            <p:nvPr/>
          </p:nvSpPr>
          <p:spPr>
            <a:xfrm>
              <a:off x="8281942" y="4392230"/>
              <a:ext cx="199238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Халык Банк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3B539A0-7C72-4792-3FF6-24C07244E65C}"/>
              </a:ext>
            </a:extLst>
          </p:cNvPr>
          <p:cNvSpPr txBox="1"/>
          <p:nvPr/>
        </p:nvSpPr>
        <p:spPr>
          <a:xfrm>
            <a:off x="806607" y="6330833"/>
            <a:ext cx="609414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*Динамика цен за сентябрь 2025 года</a:t>
            </a:r>
            <a:endParaRPr lang="ru-KZ" sz="9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89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 Theme">
      <a:dk1>
        <a:srgbClr val="002554"/>
      </a:dk1>
      <a:lt1>
        <a:srgbClr val="002554"/>
      </a:lt1>
      <a:dk2>
        <a:srgbClr val="A7A7A7"/>
      </a:dk2>
      <a:lt2>
        <a:srgbClr val="535353"/>
      </a:lt2>
      <a:accent1>
        <a:srgbClr val="007680"/>
      </a:accent1>
      <a:accent2>
        <a:srgbClr val="890C58"/>
      </a:accent2>
      <a:accent3>
        <a:srgbClr val="0047BB"/>
      </a:accent3>
      <a:accent4>
        <a:srgbClr val="D50032"/>
      </a:accent4>
      <a:accent5>
        <a:srgbClr val="00A9E0"/>
      </a:accent5>
      <a:accent6>
        <a:srgbClr val="009A44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554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2554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2554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IFC TEMPLATE_V5" id="{99FBD6E4-0972-4B16-BD1A-374563375670}" vid="{3949DDFF-4825-4C43-AF0F-5EA25C5BF613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64D715CAC311419F5DD4BF57017259" ma:contentTypeVersion="15" ma:contentTypeDescription="Create a new document." ma:contentTypeScope="" ma:versionID="a7467e48b59dcdba00b248e7c16ca2b3">
  <xsd:schema xmlns:xsd="http://www.w3.org/2001/XMLSchema" xmlns:xs="http://www.w3.org/2001/XMLSchema" xmlns:p="http://schemas.microsoft.com/office/2006/metadata/properties" xmlns:ns2="12f91c91-eec5-4777-bd30-1220b4d022b2" xmlns:ns3="64e53ada-0aec-4e08-93aa-968cf4dfe1b3" targetNamespace="http://schemas.microsoft.com/office/2006/metadata/properties" ma:root="true" ma:fieldsID="516ede044ccf4a92975a3950a6891799" ns2:_="" ns3:_="">
    <xsd:import namespace="12f91c91-eec5-4777-bd30-1220b4d022b2"/>
    <xsd:import namespace="64e53ada-0aec-4e08-93aa-968cf4dfe1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f91c91-eec5-4777-bd30-1220b4d022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5b954b1-4efa-42bf-ba53-95e5a0aa476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53ada-0aec-4e08-93aa-968cf4dfe1b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dd70b4a-42b2-478f-b7df-8ab8b76c7fc1}" ma:internalName="TaxCatchAll" ma:showField="CatchAllData" ma:web="64e53ada-0aec-4e08-93aa-968cf4dfe1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e53ada-0aec-4e08-93aa-968cf4dfe1b3" xsi:nil="true"/>
    <lcf76f155ced4ddcb4097134ff3c332f xmlns="12f91c91-eec5-4777-bd30-1220b4d022b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7ED6878-AC72-41CD-BE74-5018B09BF02C}"/>
</file>

<file path=customXml/itemProps2.xml><?xml version="1.0" encoding="utf-8"?>
<ds:datastoreItem xmlns:ds="http://schemas.openxmlformats.org/officeDocument/2006/customXml" ds:itemID="{8517A446-2475-446E-9D63-94615410E52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D72A75-1AEF-4A20-A423-5970A0034415}">
  <ds:schemaRefs>
    <ds:schemaRef ds:uri="12f91c91-eec5-4777-bd30-1220b4d022b2"/>
    <ds:schemaRef ds:uri="64e53ada-0aec-4e08-93aa-968cf4dfe1b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26707f67-414b-46ca-9a04-8c503be1047b}" enabled="1" method="Standard" siteId="{1bf47948-c1be-432d-8804-07eb905182f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983</TotalTime>
  <Words>1783</Words>
  <Application>Microsoft Office PowerPoint</Application>
  <PresentationFormat>Широкоэкранный</PresentationFormat>
  <Paragraphs>285</Paragraphs>
  <Slides>13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5" baseType="lpstr">
      <vt:lpstr>Arial</vt:lpstr>
      <vt:lpstr>Calibri</vt:lpstr>
      <vt:lpstr>Calibri Light</vt:lpstr>
      <vt:lpstr>Montserrat</vt:lpstr>
      <vt:lpstr>Montserrat ExtraLight</vt:lpstr>
      <vt:lpstr>Segoe UI</vt:lpstr>
      <vt:lpstr>Wingdings</vt:lpstr>
      <vt:lpstr>Office Theme</vt:lpstr>
      <vt:lpstr>2_Office Theme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tair Bekturov</dc:creator>
  <cp:lastModifiedBy>Aruzhan Bakhazatkhanova</cp:lastModifiedBy>
  <cp:revision>1</cp:revision>
  <dcterms:created xsi:type="dcterms:W3CDTF">2023-08-17T05:14:06Z</dcterms:created>
  <dcterms:modified xsi:type="dcterms:W3CDTF">2025-10-24T10:2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d44f3f8-b957-4663-b91e-426018f7b4e3_Enabled">
    <vt:lpwstr>true</vt:lpwstr>
  </property>
  <property fmtid="{D5CDD505-2E9C-101B-9397-08002B2CF9AE}" pid="3" name="MSIP_Label_9d44f3f8-b957-4663-b91e-426018f7b4e3_SetDate">
    <vt:lpwstr>2024-02-21T10:55:42Z</vt:lpwstr>
  </property>
  <property fmtid="{D5CDD505-2E9C-101B-9397-08002B2CF9AE}" pid="4" name="MSIP_Label_9d44f3f8-b957-4663-b91e-426018f7b4e3_Method">
    <vt:lpwstr>Privileged</vt:lpwstr>
  </property>
  <property fmtid="{D5CDD505-2E9C-101B-9397-08002B2CF9AE}" pid="5" name="MSIP_Label_9d44f3f8-b957-4663-b91e-426018f7b4e3_Name">
    <vt:lpwstr>Public</vt:lpwstr>
  </property>
  <property fmtid="{D5CDD505-2E9C-101B-9397-08002B2CF9AE}" pid="6" name="MSIP_Label_9d44f3f8-b957-4663-b91e-426018f7b4e3_SiteId">
    <vt:lpwstr>6935c45f-770f-4fe2-b7eb-93bc25054a9d</vt:lpwstr>
  </property>
  <property fmtid="{D5CDD505-2E9C-101B-9397-08002B2CF9AE}" pid="7" name="MSIP_Label_9d44f3f8-b957-4663-b91e-426018f7b4e3_ActionId">
    <vt:lpwstr>fd4bfca6-7136-47bc-9da3-ac3c995a9cdf</vt:lpwstr>
  </property>
  <property fmtid="{D5CDD505-2E9C-101B-9397-08002B2CF9AE}" pid="8" name="MSIP_Label_9d44f3f8-b957-4663-b91e-426018f7b4e3_ContentBits">
    <vt:lpwstr>0</vt:lpwstr>
  </property>
  <property fmtid="{D5CDD505-2E9C-101B-9397-08002B2CF9AE}" pid="9" name="ContentTypeId">
    <vt:lpwstr>0x0101001064D715CAC311419F5DD4BF57017259</vt:lpwstr>
  </property>
  <property fmtid="{D5CDD505-2E9C-101B-9397-08002B2CF9AE}" pid="10" name="MediaServiceImageTags">
    <vt:lpwstr/>
  </property>
</Properties>
</file>